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915" r:id="rId5"/>
    <p:sldMasterId id="2147484329" r:id="rId6"/>
    <p:sldMasterId id="2147484342" r:id="rId7"/>
    <p:sldMasterId id="2147484357" r:id="rId8"/>
  </p:sldMasterIdLst>
  <p:notesMasterIdLst>
    <p:notesMasterId r:id="rId32"/>
  </p:notesMasterIdLst>
  <p:handoutMasterIdLst>
    <p:handoutMasterId r:id="rId33"/>
  </p:handoutMasterIdLst>
  <p:sldIdLst>
    <p:sldId id="284" r:id="rId9"/>
    <p:sldId id="971" r:id="rId10"/>
    <p:sldId id="330" r:id="rId11"/>
    <p:sldId id="972" r:id="rId12"/>
    <p:sldId id="973" r:id="rId13"/>
    <p:sldId id="1003" r:id="rId14"/>
    <p:sldId id="332" r:id="rId15"/>
    <p:sldId id="987" r:id="rId16"/>
    <p:sldId id="2147480228" r:id="rId17"/>
    <p:sldId id="2147480239" r:id="rId18"/>
    <p:sldId id="378" r:id="rId19"/>
    <p:sldId id="2147479708" r:id="rId20"/>
    <p:sldId id="2147479701" r:id="rId21"/>
    <p:sldId id="2147480240" r:id="rId22"/>
    <p:sldId id="2147480229" r:id="rId23"/>
    <p:sldId id="999" r:id="rId24"/>
    <p:sldId id="995" r:id="rId25"/>
    <p:sldId id="2147479703" r:id="rId26"/>
    <p:sldId id="2147479699" r:id="rId27"/>
    <p:sldId id="2147479698" r:id="rId28"/>
    <p:sldId id="997" r:id="rId29"/>
    <p:sldId id="998" r:id="rId30"/>
    <p:sldId id="365" r:id="rId31"/>
  </p:sldIdLst>
  <p:sldSz cx="9906000" cy="6858000" type="A4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919"/>
    <a:srgbClr val="336699"/>
    <a:srgbClr val="3D3E73"/>
    <a:srgbClr val="F9401B"/>
    <a:srgbClr val="CCCCFF"/>
    <a:srgbClr val="5DBEE9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66" autoAdjust="0"/>
    <p:restoredTop sz="99072" autoAdjust="0"/>
  </p:normalViewPr>
  <p:slideViewPr>
    <p:cSldViewPr snapToGrid="0">
      <p:cViewPr varScale="1">
        <p:scale>
          <a:sx n="73" d="100"/>
          <a:sy n="73" d="100"/>
        </p:scale>
        <p:origin x="54" y="54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399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5739464258745841E-2"/>
          <c:y val="0.19602919615810643"/>
          <c:w val="0.92151805728401792"/>
          <c:h val="0.55629224257414023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тяжение пути, требующего выполнения капитального ремонта пути с учетом выделения инвестиций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</c:spPr>
          </c:marker>
          <c:dPt>
            <c:idx val="0"/>
            <c:marker>
              <c:spPr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418-4195-BAEB-FE1591984E9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277</c:v>
                </c:pt>
                <c:pt idx="1">
                  <c:v>2036</c:v>
                </c:pt>
                <c:pt idx="2">
                  <c:v>2062</c:v>
                </c:pt>
                <c:pt idx="3">
                  <c:v>19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BC74-4AB1-B586-ADC6CF16187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75476480"/>
        <c:axId val="275578880"/>
      </c:lineChart>
      <c:catAx>
        <c:axId val="275476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 b="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275578880"/>
        <c:crosses val="autoZero"/>
        <c:auto val="1"/>
        <c:lblAlgn val="ctr"/>
        <c:lblOffset val="100"/>
        <c:noMultiLvlLbl val="0"/>
      </c:catAx>
      <c:valAx>
        <c:axId val="2755788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 b="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2754764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677341072223787E-2"/>
          <c:y val="0.14209410458693894"/>
          <c:w val="0.98832265892777627"/>
          <c:h val="0.713465283688852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НБД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 prstMaterial="metal"/>
          </c:spPr>
          <c:invertIfNegative val="0"/>
          <c:dLbls>
            <c:dLbl>
              <c:idx val="0"/>
              <c:layout>
                <c:manualLayout>
                  <c:x val="8.3753962134462657E-4"/>
                  <c:y val="1.4514359277083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3F-4C3D-9C43-29829019E447}"/>
                </c:ext>
              </c:extLst>
            </c:dLbl>
            <c:dLbl>
              <c:idx val="1"/>
              <c:layout>
                <c:manualLayout>
                  <c:x val="2.053319380229515E-3"/>
                  <c:y val="1.66671669318072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D3F-4C3D-9C43-29829019E447}"/>
                </c:ext>
              </c:extLst>
            </c:dLbl>
            <c:dLbl>
              <c:idx val="2"/>
              <c:layout>
                <c:manualLayout>
                  <c:x val="2.1037882102604346E-3"/>
                  <c:y val="1.33037176370142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D3F-4C3D-9C43-29829019E447}"/>
                </c:ext>
              </c:extLst>
            </c:dLbl>
            <c:dLbl>
              <c:idx val="3"/>
              <c:layout>
                <c:manualLayout>
                  <c:x val="2.8050509470139129E-3"/>
                  <c:y val="1.76479645323131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0F-4034-B361-B63D82F698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9</c:f>
              <c:strCache>
                <c:ptCount val="8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  <c:pt idx="3">
                  <c:v>2021 год</c:v>
                </c:pt>
                <c:pt idx="4">
                  <c:v>2022 год</c:v>
                </c:pt>
                <c:pt idx="5">
                  <c:v>2023 год</c:v>
                </c:pt>
                <c:pt idx="6">
                  <c:v>2024 год</c:v>
                </c:pt>
                <c:pt idx="7">
                  <c:v>2025 год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94</c:v>
                </c:pt>
                <c:pt idx="1">
                  <c:v>78</c:v>
                </c:pt>
                <c:pt idx="2">
                  <c:v>73</c:v>
                </c:pt>
                <c:pt idx="3">
                  <c:v>75</c:v>
                </c:pt>
                <c:pt idx="4">
                  <c:v>56</c:v>
                </c:pt>
                <c:pt idx="5">
                  <c:v>60</c:v>
                </c:pt>
                <c:pt idx="6">
                  <c:v>60</c:v>
                </c:pt>
                <c:pt idx="7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3F-4C3D-9C43-29829019E4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5382528"/>
        <c:axId val="265408896"/>
      </c:barChart>
      <c:catAx>
        <c:axId val="2653825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5408896"/>
        <c:crosses val="autoZero"/>
        <c:auto val="1"/>
        <c:lblAlgn val="ctr"/>
        <c:lblOffset val="100"/>
        <c:noMultiLvlLbl val="0"/>
      </c:catAx>
      <c:valAx>
        <c:axId val="2654088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5382528"/>
        <c:crosses val="autoZero"/>
        <c:crossBetween val="between"/>
      </c:valAx>
      <c:spPr>
        <a:scene3d>
          <a:camera prst="orthographicFront"/>
          <a:lightRig rig="threePt" dir="t"/>
        </a:scene3d>
        <a:sp3d prstMaterial="metal"/>
      </c:spPr>
    </c:plotArea>
    <c:legend>
      <c:legendPos val="b"/>
      <c:layout>
        <c:manualLayout>
          <c:xMode val="edge"/>
          <c:yMode val="edge"/>
          <c:x val="0.33002589630932588"/>
          <c:y val="0.89203034080603483"/>
          <c:w val="0.32683614328023541"/>
          <c:h val="6.3453254375851587E-2"/>
        </c:manualLayout>
      </c:layout>
      <c:overlay val="0"/>
      <c:txPr>
        <a:bodyPr/>
        <a:lstStyle/>
        <a:p>
          <a:pPr>
            <a:defRPr sz="1192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490" b="1">
          <a:latin typeface="Times New Roman" pitchFamily="18" charset="0"/>
          <a:cs typeface="Times New Roman" pitchFamily="18" charset="0"/>
        </a:defRPr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17DEAC4F-317D-4B56-BD08-8735B1557E6A}" type="datetimeFigureOut">
              <a:rPr lang="ru-RU" smtClean="0"/>
              <a:t>29.04.202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2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E2DB13EE-398F-4000-BD95-59E70E20B31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974311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8056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8056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4AD5C910-172E-465E-9F6E-4BED48F9819A}" type="datetimeFigureOut">
              <a:rPr lang="ru-RU" smtClean="0"/>
              <a:t>29.04.202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387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8" tIns="46054" rIns="92108" bIns="4605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2108" tIns="46054" rIns="92108" bIns="4605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60" cy="498055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4"/>
            <a:ext cx="2945660" cy="498055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74448EFA-47DC-4E98-965E-B1764BF6721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9491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79488" y="1241425"/>
            <a:ext cx="483870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448EFA-47DC-4E98-965E-B1764BF6721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1690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17613" y="1150938"/>
            <a:ext cx="4486275" cy="31051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1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094577-418C-4255-A98B-1A1B9CDA61B3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1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25301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09613" y="744538"/>
            <a:ext cx="53784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507C7B-AD51-4C81-AFDC-DD3B2C9AFA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080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79488" y="1241425"/>
            <a:ext cx="483870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507C7B-AD51-4C81-AFDC-DD3B2C9AFA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080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86926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6570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9008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64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3188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95300" y="274655"/>
            <a:ext cx="8915400" cy="5851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D1F56F-C712-4B28-9A2C-A96C353C48B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4518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19930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38130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84" y="1709764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84" y="4589516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086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51739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365129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18904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1180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6818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17294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3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1" y="987452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3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26657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3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1" y="987452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3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96248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9079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9008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64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36315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95300" y="274657"/>
            <a:ext cx="8915400" cy="5851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D1F56F-C712-4B28-9A2C-A96C353C48B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0653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8874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2681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85" y="1709767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85" y="4589544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6591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689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3" y="365129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2981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83" y="1709762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83" y="4589514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61212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9534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8706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4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5" y="987451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4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6155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4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5" y="987451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4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1071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8179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9020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76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0203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95300" y="274658"/>
            <a:ext cx="8915400" cy="5851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D1F56F-C712-4B28-9A2C-A96C353C48B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8345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7410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7693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56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4648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694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5072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0406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9584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8535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2815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8051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2029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16" imgH="216" progId="TCLayout.ActiveDocument.1">
                  <p:embed/>
                </p:oleObj>
              </mc:Choice>
              <mc:Fallback>
                <p:oleObj name="Слайд think-cell" r:id="rId3" imgW="216" imgH="2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" y="0"/>
            <a:ext cx="9905999" cy="6569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523999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0105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16" imgH="216" progId="TCLayout.ActiveDocument.1">
                  <p:embed/>
                </p:oleObj>
              </mc:Choice>
              <mc:Fallback>
                <p:oleObj name="Слайд think-cell" r:id="rId3" imgW="216" imgH="2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" y="0"/>
            <a:ext cx="9905999" cy="6569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523999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797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1" y="365129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68364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16" imgH="216" progId="TCLayout.ActiveDocument.1">
                  <p:embed/>
                </p:oleObj>
              </mc:Choice>
              <mc:Fallback>
                <p:oleObj name="Слайд think-cell" r:id="rId3" imgW="216" imgH="21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2409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CE306EC-71B7-4CD9-A7A3-57EE65002B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00506A2-6CCB-17AE-7E32-FB7F73D938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37314F3-E2AF-888C-843F-5FB7B645F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44FC1-BCB7-48ED-9841-501326AB9D9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8A6A2D1-C48C-BF44-BC3E-F329F4D21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C12BB00-22FB-0F34-ED65-87A1BFD51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6C7E8-CC68-488F-8549-6CCD1415945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7319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20454B3-1387-3BE7-CF8A-1A38C0C47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48E9DFF-6D90-BCD1-CB70-3FD1182E0D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4C66BF9-AB09-7167-543B-503BD8E7F6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84C22-E3CD-4475-84D0-8E22CFA9355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FD4C9F9-99EF-7C72-D25F-6A9A566A0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04F8015-7459-2F54-C4AC-30FC2C5FD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6C7E8-CC68-488F-8549-6CCD1415945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4399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D14E678-94A6-186D-815E-6453D2558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88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DE492C9-1199-66CB-E9F2-0AC8775FFE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885" y="4589494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FF3AAC9-0A8C-53F6-F501-6CC080F335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AEF30C-D75D-4576-AF08-DCAF3E894F3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5EDACE1-F9CC-7BA4-E5A0-C69E01A7A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F7F2E5C-C400-1ACB-82EA-87038CF7D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6C7E8-CC68-488F-8549-6CCD1415945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8490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262F778-859F-2860-D312-A56B51D70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BE9CF4E-AB7D-CE3D-C397-473DC37F586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901AE1F-A812-035C-8375-9271BCCCDC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E77A8B3-F4C8-DC55-823B-24253AE89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C95931-1CD3-4944-9234-EC969ACA4B5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9DD2C22-A4EA-EC2B-C960-B0C5BD102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1350A16-4404-4D00-FDC6-8435572CA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6C7E8-CC68-488F-8549-6CCD1415945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2202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5185DD7-704C-5C95-2DFD-3A0CC32FB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33" y="365126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E0C092C-BD89-FE48-3113-73B07CCE73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2658C6F-8DA7-1403-1721-DA5BD0152B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955AC27-C2DB-1B79-782C-22237B9ADD2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15858BE-BF52-6A8A-3497-68E7EFDCDF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7286767-46F8-18A7-4D4E-2FA22F81D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3E8DA-6234-4104-BF10-9D67E02AE91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313411C8-D16E-9668-1DC2-3DED40D265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B1B2200E-B85A-C130-1C29-45D4C45D13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6C7E8-CC68-488F-8549-6CCD1415945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5721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77683EC-0A3C-C6D5-391C-490DC90B1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799C072-0025-BD75-B737-57A3A4D7B3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42371-3FEC-46D0-8B8C-3DF3F77DD51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8840B14B-18B2-2AAB-939A-6036E71873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679CCFE-91D9-2176-0E1A-7AC0CE68A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6C7E8-CC68-488F-8549-6CCD1415945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92251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2FED4DA-8A6F-149F-E1B0-14FA044679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2B3E6F-1E6E-427D-A57A-AA693CC4945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E95315A-CB62-C808-3852-FFD809C16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79284D0-AD48-83D5-9440-D088D5299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6C7E8-CC68-488F-8549-6CCD1415945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8644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B20190-4467-D218-DA27-68419D938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34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AD8BB05-8B9C-A8D8-506C-F719287E82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345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CCE8901-6EA4-CE28-2F01-690250663E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34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EA75187-3AAC-6D3D-C005-7CB31E3BE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A845A-8995-43F7-9D7F-32A2C4630C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09C23CA-8E40-8957-B549-E1CCBB545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AA53E01-BBCB-FDB5-72A7-0B446DC6F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6C7E8-CC68-488F-8549-6CCD1415945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8528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53B7A3-36CB-C336-D4B4-402FF6572E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34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A52F9E6E-6137-CDB1-8FE7-3CB131DB17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345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BC6E3C1-7731-BB39-4CC8-F717113A47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34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D2DBB01-AD90-8E86-B886-0693D274A9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A8103-0E46-44E6-9084-2C3DD00F8D0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F5336A5-8825-34EF-59A0-91C699489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ACB0B90-A33E-6102-02A0-5F51F04BB1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6C7E8-CC68-488F-8549-6CCD1415945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875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0104802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391043-16AD-A6C6-38C9-FADBC80E9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F6282F7-9D96-2107-97C7-5322EF87C3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C4F2899-0FDD-3B95-D103-9A3870C0E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5350BC-8F55-4564-9C44-75649FDFDD9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F36EED0-BD99-4047-8D22-FDD88914B6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6F0BD9C-0553-58AC-E8F1-D7337F849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6C7E8-CC68-488F-8549-6CCD1415945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0245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B6DF0168-E315-97BF-835D-618FA5DD04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8994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C5599A8-A315-F1C1-B1A9-46E989A4D3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50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1545782-E483-8695-EDDB-9585E29DAE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3FFB8-81A9-4ABE-965C-9187408B497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0FE4D38-FD31-F932-3CD5-86F27B919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936973A-762E-8A3C-AC65-2306EB4874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6C7E8-CC68-488F-8549-6CCD1415945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1562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75181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50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2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7457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50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2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2934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40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9" y="635640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40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0973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835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45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45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40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70" y="635640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40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4747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46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46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43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71" y="635643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43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741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0" r:id="rId1"/>
    <p:sldLayoutId id="2147484331" r:id="rId2"/>
    <p:sldLayoutId id="2147484332" r:id="rId3"/>
    <p:sldLayoutId id="2147484333" r:id="rId4"/>
    <p:sldLayoutId id="2147484334" r:id="rId5"/>
    <p:sldLayoutId id="2147484335" r:id="rId6"/>
    <p:sldLayoutId id="2147484336" r:id="rId7"/>
    <p:sldLayoutId id="2147484337" r:id="rId8"/>
    <p:sldLayoutId id="2147484338" r:id="rId9"/>
    <p:sldLayoutId id="2147484339" r:id="rId10"/>
    <p:sldLayoutId id="2147484340" r:id="rId11"/>
    <p:sldLayoutId id="214748434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43214605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8" imgW="216" imgH="216" progId="TCLayout.ActiveDocument.1">
                  <p:embed/>
                </p:oleObj>
              </mc:Choice>
              <mc:Fallback>
                <p:oleObj name="Слайд think-cell" r:id="rId18" imgW="216" imgH="2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17"/>
            </p:custDataLst>
          </p:nvPr>
        </p:nvSpPr>
        <p:spPr>
          <a:xfrm>
            <a:off x="0" y="0"/>
            <a:ext cx="128984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3575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523999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135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  <p:sldLayoutId id="2147484350" r:id="rId8"/>
    <p:sldLayoutId id="2147484351" r:id="rId9"/>
    <p:sldLayoutId id="2147484352" r:id="rId10"/>
    <p:sldLayoutId id="2147484353" r:id="rId11"/>
    <p:sldLayoutId id="2147484354" r:id="rId12"/>
    <p:sldLayoutId id="2147484355" r:id="rId13"/>
    <p:sldLayoutId id="2147484356" r:id="rId14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1B2170E-27DC-EC00-DC16-6885579C8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46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137057B-A1D6-5BF7-FAB3-C6F576FA5A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46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05F1104-BAE6-0D5F-E751-EE50C66E07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8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695B8B-C8EA-42AB-89CA-2A7BB14C844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6ED67C0-2AE5-FD82-4D5F-66781C3FA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71" y="635638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482D89-5587-BA7B-5605-63A2F5123B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8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D6C7E8-CC68-488F-8549-6CCD1415945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545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8" r:id="rId1"/>
    <p:sldLayoutId id="2147484359" r:id="rId2"/>
    <p:sldLayoutId id="2147484360" r:id="rId3"/>
    <p:sldLayoutId id="2147484361" r:id="rId4"/>
    <p:sldLayoutId id="2147484362" r:id="rId5"/>
    <p:sldLayoutId id="2147484363" r:id="rId6"/>
    <p:sldLayoutId id="2147484364" r:id="rId7"/>
    <p:sldLayoutId id="2147484365" r:id="rId8"/>
    <p:sldLayoutId id="2147484366" r:id="rId9"/>
    <p:sldLayoutId id="2147484367" r:id="rId10"/>
    <p:sldLayoutId id="214748436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5.jpeg"/><Relationship Id="rId7" Type="http://schemas.openxmlformats.org/officeDocument/2006/relationships/image" Target="../media/image14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10" Type="http://schemas.openxmlformats.org/officeDocument/2006/relationships/image" Target="../media/image17.jpg"/><Relationship Id="rId4" Type="http://schemas.openxmlformats.org/officeDocument/2006/relationships/image" Target="../media/image11.jpeg"/><Relationship Id="rId9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5.jpe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20.jpeg"/><Relationship Id="rId11" Type="http://schemas.openxmlformats.org/officeDocument/2006/relationships/image" Target="../media/image25.jpeg"/><Relationship Id="rId5" Type="http://schemas.openxmlformats.org/officeDocument/2006/relationships/image" Target="../media/image19.jpeg"/><Relationship Id="rId10" Type="http://schemas.openxmlformats.org/officeDocument/2006/relationships/image" Target="../media/image24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10" Type="http://schemas.openxmlformats.org/officeDocument/2006/relationships/image" Target="../media/image32.jpeg"/><Relationship Id="rId4" Type="http://schemas.openxmlformats.org/officeDocument/2006/relationships/image" Target="../media/image5.jpeg"/><Relationship Id="rId9" Type="http://schemas.openxmlformats.org/officeDocument/2006/relationships/image" Target="../media/image31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95919" y="351065"/>
            <a:ext cx="8813800" cy="6314904"/>
          </a:xfrm>
        </p:spPr>
        <p:txBody>
          <a:bodyPr>
            <a:normAutofit fontScale="90000"/>
          </a:bodyPr>
          <a:lstStyle/>
          <a:p>
            <a:r>
              <a:rPr lang="ru-RU" sz="36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АО «НК «</a:t>
            </a:r>
            <a:r>
              <a:rPr lang="kk-KZ" sz="36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Қазақстан темір жолы</a:t>
            </a:r>
            <a:r>
              <a:rPr lang="ru-RU" sz="36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br>
              <a:rPr lang="ru-RU" sz="3600" b="1" dirty="0">
                <a:latin typeface="Times New Roman" pitchFamily="18" charset="0"/>
                <a:cs typeface="Times New Roman" pitchFamily="18" charset="0"/>
              </a:rPr>
            </a:br>
            <a:br>
              <a:rPr lang="ru-RU" sz="3600" b="1" dirty="0">
                <a:latin typeface="Times New Roman" pitchFamily="18" charset="0"/>
                <a:cs typeface="Times New Roman" pitchFamily="18" charset="0"/>
              </a:rPr>
            </a:br>
            <a:br>
              <a:rPr lang="ru-RU" sz="4000" b="1" dirty="0">
                <a:latin typeface="Times New Roman" pitchFamily="18" charset="0"/>
                <a:cs typeface="Times New Roman" pitchFamily="18" charset="0"/>
              </a:rPr>
            </a:br>
            <a:r>
              <a:rPr lang="ru-RU" sz="27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ИТОГИ ДЕЯТЕЛЬНОСТИ ЗА 2025 ГОД И</a:t>
            </a:r>
            <a:br>
              <a:rPr lang="ru-RU" sz="27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7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ОСНОВНЫЕ ЗАДАЧИ НА 2026 ГОД</a:t>
            </a:r>
            <a:br>
              <a:rPr lang="ru-RU" sz="27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7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ПО РЕГУЛИРУЕМЫМ УСЛУГАМ</a:t>
            </a:r>
            <a:br>
              <a:rPr lang="ru-RU" sz="27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</a:br>
            <a:br>
              <a:rPr lang="ru-RU" sz="40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br>
              <a:rPr lang="ru-RU" sz="4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br>
              <a:rPr lang="ru-RU" sz="4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br>
              <a:rPr lang="ru-RU" sz="4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br>
              <a:rPr lang="ru-RU" sz="4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br>
              <a:rPr lang="ru-RU" sz="4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br>
              <a:rPr lang="ru-RU" sz="4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18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г.Астана</a:t>
            </a:r>
            <a:br>
              <a:rPr lang="ru-RU" sz="18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24.04.2026</a:t>
            </a:r>
          </a:p>
        </p:txBody>
      </p:sp>
      <p:sp>
        <p:nvSpPr>
          <p:cNvPr id="4" name="Номер слайда 2"/>
          <p:cNvSpPr txBox="1">
            <a:spLocks/>
          </p:cNvSpPr>
          <p:nvPr/>
        </p:nvSpPr>
        <p:spPr>
          <a:xfrm>
            <a:off x="9271000" y="6483406"/>
            <a:ext cx="63132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6" name="Picture 3" descr="D:\For prezentations\kz_icons\Map1 copy.png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rcRect l="2679" r="3432"/>
          <a:stretch/>
        </p:blipFill>
        <p:spPr bwMode="auto">
          <a:xfrm>
            <a:off x="5345714" y="4472434"/>
            <a:ext cx="4320480" cy="2111027"/>
          </a:xfrm>
          <a:prstGeom prst="rect">
            <a:avLst/>
          </a:prstGeom>
          <a:noFill/>
          <a:scene3d>
            <a:camera prst="orthographicFront">
              <a:rot lat="0" lon="0" rev="0"/>
            </a:camera>
            <a:lightRig rig="threePt" dir="t"/>
          </a:scene3d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32249" y="2904722"/>
            <a:ext cx="2327517" cy="2790506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EEECE1"/>
            </a:outerShdw>
            <a:softEdge rad="635000"/>
          </a:effectLst>
          <a:scene3d>
            <a:camera prst="obliqueTopRight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10483211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119033" y="128063"/>
            <a:ext cx="9906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740112" y="147413"/>
            <a:ext cx="8494495" cy="472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prstClr val="white"/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itchFamily="18" charset="0"/>
              </a:rPr>
              <a:t>ВЫПОЛНЕНИЕ КАПИТАЛЬНОГО И АЛЬТЕРНАТИВНЫХ ВИДОВ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prstClr val="white"/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itchFamily="18" charset="0"/>
              </a:rPr>
              <a:t>РЕМОНТОВ  ПУТИ 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>
            <a:off x="792960" y="715594"/>
            <a:ext cx="8875335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D1C2D5-65E2-FD69-091C-55FF62950C2A}"/>
              </a:ext>
            </a:extLst>
          </p:cNvPr>
          <p:cNvSpPr txBox="1"/>
          <p:nvPr/>
        </p:nvSpPr>
        <p:spPr>
          <a:xfrm rot="16200000">
            <a:off x="-575785" y="4627891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itchFamily="18" charset="0"/>
              </a:rPr>
              <a:t>Количество, км</a:t>
            </a:r>
          </a:p>
        </p:txBody>
      </p:sp>
      <p:sp>
        <p:nvSpPr>
          <p:cNvPr id="719" name="Прямоугольник 718"/>
          <p:cNvSpPr/>
          <p:nvPr/>
        </p:nvSpPr>
        <p:spPr>
          <a:xfrm>
            <a:off x="4875250" y="2852939"/>
            <a:ext cx="4913445" cy="3621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3619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202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5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году выполнен капитальный ремонт пути подрядным способом в объеме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433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км, что позволило:</a:t>
            </a:r>
          </a:p>
          <a:p>
            <a:pPr marL="93663" marR="0" lvl="1" indent="261938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 typeface="Wingdings" pitchFamily="2" charset="2"/>
              <a:buChar char="ü"/>
              <a:tabLst>
                <a:tab pos="177800" algn="l"/>
              </a:tabLst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сократить протяжённость участков, требующих капитального ремонта, </a:t>
            </a:r>
          </a:p>
          <a:p>
            <a:pPr marL="93663" marR="0" lvl="1" indent="261938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 typeface="Wingdings" pitchFamily="2" charset="2"/>
              <a:buChar char="ü"/>
              <a:tabLst>
                <a:tab pos="177800" algn="l"/>
              </a:tabLst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повысить уровень безопасности движения, </a:t>
            </a:r>
          </a:p>
          <a:p>
            <a:pPr marL="93663" marR="0" lvl="1" indent="261938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 typeface="Wingdings" pitchFamily="2" charset="2"/>
              <a:buChar char="ü"/>
              <a:tabLst>
                <a:tab pos="177800" algn="l"/>
              </a:tabLst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увеличить пропускную и провозную способность участков, </a:t>
            </a:r>
          </a:p>
          <a:p>
            <a:pPr marL="93663" marR="0" lvl="1" indent="261938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 typeface="Wingdings" pitchFamily="2" charset="2"/>
              <a:buChar char="ü"/>
              <a:tabLst>
                <a:tab pos="177800" algn="l"/>
              </a:tabLst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беспечить повышение скорости движения </a:t>
            </a:r>
            <a:r>
              <a:rPr kumimoji="0" lang="kk-K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на участках капитального ремонта пути. </a:t>
            </a:r>
          </a:p>
        </p:txBody>
      </p:sp>
      <p:graphicFrame>
        <p:nvGraphicFramePr>
          <p:cNvPr id="720" name="Диаграмма 719"/>
          <p:cNvGraphicFramePr/>
          <p:nvPr/>
        </p:nvGraphicFramePr>
        <p:xfrm>
          <a:off x="457588" y="3501008"/>
          <a:ext cx="4417655" cy="27228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21" name="TextBox 1"/>
          <p:cNvSpPr txBox="1"/>
          <p:nvPr/>
        </p:nvSpPr>
        <p:spPr>
          <a:xfrm>
            <a:off x="283625" y="2878302"/>
            <a:ext cx="474977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Динамика изменения объема километров пути,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требующих выполнения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капитального ремонта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72896" y="875546"/>
          <a:ext cx="9439322" cy="156125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47196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196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1077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2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апитальный ремонт пути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2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 счет регулируемой услуги МЖС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2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33</a:t>
                      </a:r>
                      <a:r>
                        <a:rPr lang="ru-RU" dirty="0">
                          <a:solidFill>
                            <a:schemeClr val="tx2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км</a:t>
                      </a:r>
                      <a:endParaRPr lang="ru-RU" dirty="0">
                        <a:solidFill>
                          <a:schemeClr val="tx2"/>
                        </a:solidFill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2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апитальный и альтернативные ремонты пути за счет нерегулируемой деятельности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2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 142</a:t>
                      </a:r>
                      <a:r>
                        <a:rPr lang="en-US" sz="1800" b="1" kern="1200" baseline="0" dirty="0">
                          <a:solidFill>
                            <a:schemeClr val="tx2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dirty="0">
                          <a:solidFill>
                            <a:schemeClr val="tx2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480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tx2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сего: </a:t>
                      </a:r>
                      <a:r>
                        <a:rPr lang="en-US" b="1" dirty="0">
                          <a:solidFill>
                            <a:schemeClr val="tx2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75</a:t>
                      </a:r>
                      <a:r>
                        <a:rPr lang="ru-RU" b="1" dirty="0">
                          <a:solidFill>
                            <a:schemeClr val="tx2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км</a:t>
                      </a: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99" name="Picture 9" descr="Логотип copy">
            <a:extLst>
              <a:ext uri="{FF2B5EF4-FFF2-40B4-BE49-F238E27FC236}">
                <a16:creationId xmlns:a16="http://schemas.microsoft.com/office/drawing/2014/main" id="{C2C50BD6-C933-4F76-8868-77EB353BA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4607" y="12536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0" name="Номер слайда 1">
            <a:extLst>
              <a:ext uri="{FF2B5EF4-FFF2-40B4-BE49-F238E27FC236}">
                <a16:creationId xmlns:a16="http://schemas.microsoft.com/office/drawing/2014/main" id="{DE0F5943-A6DF-4CC4-B727-108B9D406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06738" y="6463276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7978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39555" y="238922"/>
            <a:ext cx="9906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54173" y="137778"/>
            <a:ext cx="9906000" cy="4875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prstClr val="white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ЗАМЕНА КОМПЛЕКСОВ СТРЕЛОЧНЫХ ПЕРЕВОДОВ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 flipV="1">
            <a:off x="368300" y="615510"/>
            <a:ext cx="9264173" cy="9773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8014236" y="4702214"/>
            <a:ext cx="54689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8014236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8014236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8014236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8014236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8014236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8014236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8014236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8014236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8014236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8014236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8014236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8014236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8014236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8014236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8014236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8014233" y="4702214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8014233" y="4702214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8014233" y="4702214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8014237" y="4702214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8014237" y="4702214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8014237" y="4702214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8014237" y="4702214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8014237" y="4702214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8014237" y="4702214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8014260" y="4702214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8014260" y="4702214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8014260" y="4702214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8014260" y="4702214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8014260" y="4702214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8014260" y="4702214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8014260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8014260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8014260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8024571" y="4702214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8024571" y="4702214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8024571" y="4702214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8024571" y="4702214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8024571" y="4702214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8024571" y="4702214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8024571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8024571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8024571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8014259" y="4702214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8014259" y="4702214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8014259" y="4702214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506738" y="6463310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1" name="Прямоугольник 720"/>
          <p:cNvSpPr/>
          <p:nvPr/>
        </p:nvSpPr>
        <p:spPr>
          <a:xfrm>
            <a:off x="103224" y="3354181"/>
            <a:ext cx="9462061" cy="3218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3619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Замена стрелочных переводов в 202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5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году в объеме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785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комплекта позволило</a:t>
            </a:r>
            <a:r>
              <a:rPr kumimoji="0" lang="kk-KZ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: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8" charset="0"/>
              <a:buChar char="-"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устранить негодности под рельсовых оснований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8" charset="0"/>
              <a:buChar char="-"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снизить уровень износа основных средств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8" charset="0"/>
              <a:buChar char="-"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повышение уровня технической оснащенности: благодаря замене, доля стрелочных переводов на железобетонном основании выросла на 2,7% (с 42,6% до 45,3%)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8" charset="0"/>
              <a:buChar char="-"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Укрепление инфраструктуры главных путей;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8" charset="0"/>
              <a:buChar char="-"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тсутствие сходов подвижного состава по износу металлических частей стрелочного перевода (1 случай 2024 год)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8" charset="0"/>
              <a:buChar char="-"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Снижение эксплуатационных расходов и повышение межремонтных сроков.</a:t>
            </a:r>
          </a:p>
        </p:txBody>
      </p:sp>
      <p:pic>
        <p:nvPicPr>
          <p:cNvPr id="722" name="Picture 9" descr="Логотип copy">
            <a:extLst>
              <a:ext uri="{FF2B5EF4-FFF2-40B4-BE49-F238E27FC236}">
                <a16:creationId xmlns:a16="http://schemas.microsoft.com/office/drawing/2014/main" id="{7E9ABCD5-6CBA-43B2-94B0-AE3745C898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3339" y="56524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767068" y="1142230"/>
            <a:ext cx="4798217" cy="1435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538163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рамках реализации программы модернизации путевой инфраструктуры продолжается работа в части перевода стрелочного хозяйства с деревянного бруса на железобетонное основание.</a:t>
            </a:r>
          </a:p>
        </p:txBody>
      </p:sp>
      <p:sp>
        <p:nvSpPr>
          <p:cNvPr id="11" name="AutoShape 2" descr="C:\Users\KASSYM~1\AppData\Local\Temp\{1AA56900-3AB3-47BC-9EC2-4555771FB30F}.tmp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AutoShape 4" descr="C:\Users\KASSYM~1\AppData\Local\Temp\{1AA56900-3AB3-47BC-9EC2-4555771FB30F}.tmp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81345" y="677237"/>
            <a:ext cx="4934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о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724" name="TextBox 723"/>
          <p:cNvSpPr txBox="1"/>
          <p:nvPr/>
        </p:nvSpPr>
        <p:spPr>
          <a:xfrm>
            <a:off x="3183909" y="721078"/>
            <a:ext cx="7649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сле</a:t>
            </a:r>
          </a:p>
        </p:txBody>
      </p:sp>
      <p:pic>
        <p:nvPicPr>
          <p:cNvPr id="725" name="Рисунок 72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35" y="1090409"/>
            <a:ext cx="2088934" cy="2054443"/>
          </a:xfrm>
          <a:prstGeom prst="rect">
            <a:avLst/>
          </a:prstGeom>
          <a:noFill/>
          <a:ln>
            <a:noFill/>
          </a:ln>
        </p:spPr>
      </p:pic>
      <p:pic>
        <p:nvPicPr>
          <p:cNvPr id="726" name="Рисунок 72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202" y="1090410"/>
            <a:ext cx="2068074" cy="205444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773288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7328BF-5376-4A3C-B145-9120D508ECBC}" type="slidenum">
              <a:rPr kumimoji="0" lang="ru-RU" sz="1138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13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Рисунок 7" descr="Тяжеловес Российских железных дорог КЖ 1572 - Форум ModelldepO">
            <a:extLst>
              <a:ext uri="{FF2B5EF4-FFF2-40B4-BE49-F238E27FC236}">
                <a16:creationId xmlns:a16="http://schemas.microsoft.com/office/drawing/2014/main" id="{45C84DB1-8E0B-B16E-672A-32CAB12A8C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099" y="2355958"/>
            <a:ext cx="2968077" cy="1172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59"/>
          <p:cNvSpPr>
            <a:spLocks noChangeArrowheads="1"/>
          </p:cNvSpPr>
          <p:nvPr/>
        </p:nvSpPr>
        <p:spPr bwMode="auto">
          <a:xfrm>
            <a:off x="792959" y="148448"/>
            <a:ext cx="8995478" cy="472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marL="92075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prstClr val="white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Приобретение техники и оборудования для функционирования МЖС</a:t>
            </a:r>
          </a:p>
        </p:txBody>
      </p:sp>
      <p:sp>
        <p:nvSpPr>
          <p:cNvPr id="7" name="Line 809"/>
          <p:cNvSpPr>
            <a:spLocks noChangeShapeType="1"/>
          </p:cNvSpPr>
          <p:nvPr/>
        </p:nvSpPr>
        <p:spPr bwMode="auto">
          <a:xfrm>
            <a:off x="351876" y="753694"/>
            <a:ext cx="9249195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8" name="Picture 9" descr="Логотип copy">
            <a:extLst>
              <a:ext uri="{FF2B5EF4-FFF2-40B4-BE49-F238E27FC236}">
                <a16:creationId xmlns:a16="http://schemas.microsoft.com/office/drawing/2014/main" id="{C2C50BD6-C933-4F76-8868-77EB353BA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4607" y="12536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 descr="Изображение выглядит как небо, на открытом воздухе, промышленность, поле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F1ACCC4A-0692-CCE6-4F72-10B747F504D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11" b="25231"/>
          <a:stretch>
            <a:fillRect/>
          </a:stretch>
        </p:blipFill>
        <p:spPr>
          <a:xfrm>
            <a:off x="1915412" y="4339540"/>
            <a:ext cx="1475488" cy="1057960"/>
          </a:xfrm>
          <a:prstGeom prst="rect">
            <a:avLst/>
          </a:prstGeom>
        </p:spPr>
      </p:pic>
      <p:pic>
        <p:nvPicPr>
          <p:cNvPr id="10" name="Рисунок 9" descr="Изображение выглядит как небо, на открытом воздухе, Электроснабжение, Воздушная линия электропередачи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CBAEBC09-47D1-4480-A766-B833CDE245D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881"/>
          <a:stretch>
            <a:fillRect/>
          </a:stretch>
        </p:blipFill>
        <p:spPr>
          <a:xfrm>
            <a:off x="492662" y="4339540"/>
            <a:ext cx="1413734" cy="105796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81725" y="1012312"/>
            <a:ext cx="93425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5381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рамках реализации комплекса мероприятий по повышению надежности, эффективности и технологического уровня эксплуатации железнодорожной инфраструктуры было приобретено 221 ед. техники и оборудования, в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т.ч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.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13" name="Picture 3" descr="C:\Users\Zhurkabayev_D\Desktop\dizelny-generator-pca-power-pcu-44-1879947_big (1).jpg">
            <a:extLst>
              <a:ext uri="{FF2B5EF4-FFF2-40B4-BE49-F238E27FC236}">
                <a16:creationId xmlns:a16="http://schemas.microsoft.com/office/drawing/2014/main" id="{E6486D38-D4CA-4481-58F1-EA896FC834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89" t="22018" r="16775" b="16466"/>
          <a:stretch/>
        </p:blipFill>
        <p:spPr bwMode="auto">
          <a:xfrm>
            <a:off x="7894027" y="4296390"/>
            <a:ext cx="1112844" cy="1172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436F187-ED66-3D07-76BF-6BA511AC3752}"/>
              </a:ext>
            </a:extLst>
          </p:cNvPr>
          <p:cNvSpPr txBox="1"/>
          <p:nvPr/>
        </p:nvSpPr>
        <p:spPr>
          <a:xfrm>
            <a:off x="446942" y="5457216"/>
            <a:ext cx="30125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3 ед. трансформаторов и 55 ед. электротехнического оборудования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36F187-ED66-3D07-76BF-6BA511AC3752}"/>
              </a:ext>
            </a:extLst>
          </p:cNvPr>
          <p:cNvSpPr txBox="1"/>
          <p:nvPr/>
        </p:nvSpPr>
        <p:spPr>
          <a:xfrm>
            <a:off x="7012939" y="5438239"/>
            <a:ext cx="28750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9 ед. дизель генераторных агрегатов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436F187-ED66-3D07-76BF-6BA511AC3752}"/>
              </a:ext>
            </a:extLst>
          </p:cNvPr>
          <p:cNvSpPr txBox="1"/>
          <p:nvPr/>
        </p:nvSpPr>
        <p:spPr>
          <a:xfrm>
            <a:off x="228914" y="3646403"/>
            <a:ext cx="26362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 ед. крана на ж/д ходу</a:t>
            </a:r>
          </a:p>
        </p:txBody>
      </p:sp>
      <p:pic>
        <p:nvPicPr>
          <p:cNvPr id="18" name="Image 1">
            <a:extLst>
              <a:ext uri="{FF2B5EF4-FFF2-40B4-BE49-F238E27FC236}">
                <a16:creationId xmlns:a16="http://schemas.microsoft.com/office/drawing/2014/main" id="{5FB7E0AB-BD48-FF81-E7DA-AE94060C9888}"/>
              </a:ext>
            </a:extLst>
          </p:cNvPr>
          <p:cNvPicPr>
            <a:picLocks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134198" y="4343401"/>
            <a:ext cx="1581665" cy="958966"/>
          </a:xfrm>
          <a:prstGeom prst="rect">
            <a:avLst/>
          </a:prstGeom>
        </p:spPr>
      </p:pic>
      <p:pic>
        <p:nvPicPr>
          <p:cNvPr id="19" name="Image 2" descr="29164-15: П4-17 Измерители радиопомех - Производители, поставщики и  поверители">
            <a:extLst>
              <a:ext uri="{FF2B5EF4-FFF2-40B4-BE49-F238E27FC236}">
                <a16:creationId xmlns:a16="http://schemas.microsoft.com/office/drawing/2014/main" id="{6AF3159B-71C1-C607-8C7F-4A6860F561E1}"/>
              </a:ext>
            </a:extLst>
          </p:cNvPr>
          <p:cNvPicPr>
            <a:picLocks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903772" y="4341477"/>
            <a:ext cx="1351516" cy="96818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2436F187-ED66-3D07-76BF-6BA511AC3752}"/>
              </a:ext>
            </a:extLst>
          </p:cNvPr>
          <p:cNvSpPr txBox="1"/>
          <p:nvPr/>
        </p:nvSpPr>
        <p:spPr>
          <a:xfrm>
            <a:off x="3892838" y="5438239"/>
            <a:ext cx="282302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омпл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оборудования измерительного комплекса  (МИКАР)</a:t>
            </a: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831F022E-35B0-AE32-99C7-090177E6F9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2838" y="2355958"/>
            <a:ext cx="2412813" cy="1135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2436F187-ED66-3D07-76BF-6BA511AC3752}"/>
              </a:ext>
            </a:extLst>
          </p:cNvPr>
          <p:cNvSpPr txBox="1"/>
          <p:nvPr/>
        </p:nvSpPr>
        <p:spPr>
          <a:xfrm>
            <a:off x="3459480" y="3627210"/>
            <a:ext cx="28230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 ед. щебнеочистительной машины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6B3F7826-96C2-4E32-A863-033E5A738FDC}"/>
              </a:ext>
            </a:extLst>
          </p:cNvPr>
          <p:cNvGrpSpPr/>
          <p:nvPr/>
        </p:nvGrpSpPr>
        <p:grpSpPr>
          <a:xfrm>
            <a:off x="6860831" y="2377679"/>
            <a:ext cx="2749334" cy="1179880"/>
            <a:chOff x="3917304" y="1238515"/>
            <a:chExt cx="1470603" cy="673802"/>
          </a:xfrm>
        </p:grpSpPr>
        <p:sp>
          <p:nvSpPr>
            <p:cNvPr id="30" name="Прямоугольник: скругленные углы 28">
              <a:extLst>
                <a:ext uri="{FF2B5EF4-FFF2-40B4-BE49-F238E27FC236}">
                  <a16:creationId xmlns:a16="http://schemas.microsoft.com/office/drawing/2014/main" id="{72C93EE9-4BA5-4A50-AA19-FFC436080D6F}"/>
                </a:ext>
              </a:extLst>
            </p:cNvPr>
            <p:cNvSpPr/>
            <p:nvPr/>
          </p:nvSpPr>
          <p:spPr>
            <a:xfrm>
              <a:off x="3917304" y="1238515"/>
              <a:ext cx="1470603" cy="67380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1" name="Рисунок 30" descr="Изображение выглядит как желтый, ручная тележка, прицеп&#10;&#10;Автоматически созданное описание">
              <a:extLst>
                <a:ext uri="{FF2B5EF4-FFF2-40B4-BE49-F238E27FC236}">
                  <a16:creationId xmlns:a16="http://schemas.microsoft.com/office/drawing/2014/main" id="{7373D3AA-89FF-4216-A0E3-19AF3DA11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13701" y="1291070"/>
              <a:ext cx="1349932" cy="621247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1C503866-C2DD-4E45-9823-4F8229EEB13C}"/>
              </a:ext>
            </a:extLst>
          </p:cNvPr>
          <p:cNvSpPr txBox="1"/>
          <p:nvPr/>
        </p:nvSpPr>
        <p:spPr>
          <a:xfrm>
            <a:off x="6797909" y="3538446"/>
            <a:ext cx="29813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90 ед. хоппер дозаторных вагонов</a:t>
            </a:r>
          </a:p>
        </p:txBody>
      </p:sp>
    </p:spTree>
    <p:extLst>
      <p:ext uri="{BB962C8B-B14F-4D97-AF65-F5344CB8AC3E}">
        <p14:creationId xmlns:p14="http://schemas.microsoft.com/office/powerpoint/2010/main" val="34176200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3E89B2-D5C1-D73D-09E9-BCB3A8CAC8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9586365-DE84-5F81-8350-7B79FE40C1B2}"/>
              </a:ext>
            </a:extLst>
          </p:cNvPr>
          <p:cNvSpPr txBox="1"/>
          <p:nvPr/>
        </p:nvSpPr>
        <p:spPr>
          <a:xfrm>
            <a:off x="114664" y="241167"/>
            <a:ext cx="89877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all" spc="0" normalizeH="0" baseline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all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   </a:t>
            </a:r>
            <a:r>
              <a:rPr kumimoji="0" lang="ru-RU" sz="1600" b="1" i="0" u="none" strike="noStrike" kern="1200" cap="all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prstClr val="white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ыполнение ремонта ИСКУССТВЕННЫХ СООРУЖЕНИЙ (ИССО</a:t>
            </a:r>
            <a:r>
              <a:rPr kumimoji="0" lang="ru-RU" sz="1600" b="1" i="0" u="none" strike="noStrike" kern="1200" cap="all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) 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32FB4E69-61F4-1CCC-638E-A010BE13488C}"/>
              </a:ext>
            </a:extLst>
          </p:cNvPr>
          <p:cNvSpPr/>
          <p:nvPr/>
        </p:nvSpPr>
        <p:spPr>
          <a:xfrm>
            <a:off x="563336" y="5264885"/>
            <a:ext cx="478884" cy="2948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271D7DE4-2359-CCBC-60DA-297C23CDBB77}"/>
              </a:ext>
            </a:extLst>
          </p:cNvPr>
          <p:cNvSpPr/>
          <p:nvPr/>
        </p:nvSpPr>
        <p:spPr>
          <a:xfrm>
            <a:off x="1857097" y="5264885"/>
            <a:ext cx="842011" cy="2456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D36B715-B0D3-ED19-7514-6F2866C9F9D6}"/>
              </a:ext>
            </a:extLst>
          </p:cNvPr>
          <p:cNvSpPr txBox="1"/>
          <p:nvPr/>
        </p:nvSpPr>
        <p:spPr>
          <a:xfrm>
            <a:off x="290588" y="821727"/>
            <a:ext cx="942359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>
                <a:solidFill>
                  <a:prstClr val="blac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 2025 году выполнены работы по капитальному ремонту 6 искусственных сооружений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ект направлен на обеспечение безопасности движения поездов и снижение физического износа конструкций и элементов искусственных сооружений железнодорожной магистральной сети. </a:t>
            </a: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24DF55A0-FF98-EE0A-DF43-FA0B4D23AE0A}"/>
              </a:ext>
            </a:extLst>
          </p:cNvPr>
          <p:cNvSpPr txBox="1"/>
          <p:nvPr/>
        </p:nvSpPr>
        <p:spPr>
          <a:xfrm>
            <a:off x="7858328" y="2857241"/>
            <a:ext cx="81195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x-none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6439346-8950-8A8E-F525-08221A620485}"/>
              </a:ext>
            </a:extLst>
          </p:cNvPr>
          <p:cNvSpPr txBox="1"/>
          <p:nvPr/>
        </p:nvSpPr>
        <p:spPr>
          <a:xfrm>
            <a:off x="7178311" y="1443964"/>
            <a:ext cx="81195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x-none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48597D0-52F8-17CD-0848-9737DC95F55E}"/>
              </a:ext>
            </a:extLst>
          </p:cNvPr>
          <p:cNvSpPr/>
          <p:nvPr/>
        </p:nvSpPr>
        <p:spPr>
          <a:xfrm>
            <a:off x="4051989" y="5264885"/>
            <a:ext cx="478884" cy="2948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3B84492-473A-0DDA-729B-1CCB15D47A3A}"/>
              </a:ext>
            </a:extLst>
          </p:cNvPr>
          <p:cNvSpPr/>
          <p:nvPr/>
        </p:nvSpPr>
        <p:spPr>
          <a:xfrm>
            <a:off x="5345742" y="5264885"/>
            <a:ext cx="842011" cy="2456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47BEADB4-2AC3-A606-9B0D-8990E5818F19}"/>
              </a:ext>
            </a:extLst>
          </p:cNvPr>
          <p:cNvSpPr/>
          <p:nvPr/>
        </p:nvSpPr>
        <p:spPr>
          <a:xfrm>
            <a:off x="7372956" y="5264885"/>
            <a:ext cx="478884" cy="2948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3F24C200-AE09-22CF-BF30-214469D8371E}"/>
              </a:ext>
            </a:extLst>
          </p:cNvPr>
          <p:cNvSpPr/>
          <p:nvPr/>
        </p:nvSpPr>
        <p:spPr>
          <a:xfrm>
            <a:off x="1090040" y="5435333"/>
            <a:ext cx="948322" cy="2456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C19DCB13-A7A7-6305-3FD3-7136F9439DCE}"/>
              </a:ext>
            </a:extLst>
          </p:cNvPr>
          <p:cNvSpPr/>
          <p:nvPr/>
        </p:nvSpPr>
        <p:spPr>
          <a:xfrm>
            <a:off x="4504210" y="5435333"/>
            <a:ext cx="1099198" cy="2456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67C1EA13-0BC0-61C2-E34A-51D05241D0FC}"/>
              </a:ext>
            </a:extLst>
          </p:cNvPr>
          <p:cNvSpPr/>
          <p:nvPr/>
        </p:nvSpPr>
        <p:spPr>
          <a:xfrm>
            <a:off x="5462543" y="912797"/>
            <a:ext cx="2687549" cy="2456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Line 809"/>
          <p:cNvSpPr>
            <a:spLocks noChangeShapeType="1"/>
          </p:cNvSpPr>
          <p:nvPr/>
        </p:nvSpPr>
        <p:spPr bwMode="auto">
          <a:xfrm>
            <a:off x="478534" y="633249"/>
            <a:ext cx="8813932" cy="0"/>
          </a:xfrm>
          <a:prstGeom prst="line">
            <a:avLst/>
          </a:prstGeom>
          <a:noFill/>
          <a:ln w="57150" cmpd="thinThick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8" name="Picture 9" descr="Логотип copy">
            <a:extLst>
              <a:ext uri="{FF2B5EF4-FFF2-40B4-BE49-F238E27FC236}">
                <a16:creationId xmlns:a16="http://schemas.microsoft.com/office/drawing/2014/main" id="{0A266F99-56C4-4E0F-AC77-8F573A52A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4607" y="12536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Номер слайда 1">
            <a:extLst>
              <a:ext uri="{FF2B5EF4-FFF2-40B4-BE49-F238E27FC236}">
                <a16:creationId xmlns:a16="http://schemas.microsoft.com/office/drawing/2014/main" id="{BFE02030-0EAD-41BC-8678-087D39C97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06738" y="6463276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2" descr="C:\Users\zhumabai_m\Desktop\Иссо слайд\Новая папка (2)\3284км пк996 чет (4)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15" y="2370119"/>
            <a:ext cx="2211260" cy="1684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C:\Users\zhumabai_m\Desktop\Иссо слайд\Новая папка (2)\PHOTO-2025-10-10-11-37-4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095" y="4388735"/>
            <a:ext cx="2209680" cy="1662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99689" y="2028801"/>
            <a:ext cx="4405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о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00159" y="4054300"/>
            <a:ext cx="7649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сле</a:t>
            </a:r>
          </a:p>
        </p:txBody>
      </p:sp>
      <p:pic>
        <p:nvPicPr>
          <p:cNvPr id="26" name="Объект 5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2280" y="2370118"/>
            <a:ext cx="2253220" cy="1687462"/>
          </a:xfrm>
        </p:spPr>
      </p:pic>
      <p:pic>
        <p:nvPicPr>
          <p:cNvPr id="29" name="Picture 2" descr="C:\Users\zhumabai_m\Desktop\Иссо слайд\PHOTO-2025-07-01-11-24-23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279" y="4388734"/>
            <a:ext cx="2253221" cy="1682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3542643" y="2028801"/>
            <a:ext cx="4405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о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443113" y="4054300"/>
            <a:ext cx="7649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сле</a:t>
            </a:r>
          </a:p>
        </p:txBody>
      </p:sp>
      <p:pic>
        <p:nvPicPr>
          <p:cNvPr id="32" name="Объект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3044" y="2370118"/>
            <a:ext cx="2135267" cy="1684181"/>
          </a:xfrm>
          <a:prstGeom prst="rect">
            <a:avLst/>
          </a:prstGeom>
        </p:spPr>
      </p:pic>
      <p:pic>
        <p:nvPicPr>
          <p:cNvPr id="33" name="Picture 3" descr="C:\Users\zhumabai_m\Desktop\Иссо слайд\PHOTO-2025-07-16-09-31-54 (3)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387" y="4388735"/>
            <a:ext cx="2149744" cy="1662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5759890" y="2028801"/>
            <a:ext cx="4405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о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660360" y="4054300"/>
            <a:ext cx="7649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сле</a:t>
            </a:r>
          </a:p>
        </p:txBody>
      </p:sp>
      <p:pic>
        <p:nvPicPr>
          <p:cNvPr id="38" name="Объект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3054" y="2370119"/>
            <a:ext cx="2106836" cy="1684180"/>
          </a:xfrm>
          <a:prstGeom prst="rect">
            <a:avLst/>
          </a:prstGeom>
        </p:spPr>
      </p:pic>
      <p:pic>
        <p:nvPicPr>
          <p:cNvPr id="39" name="Picture 2" descr="C:\Users\zhumabai_m\Desktop\Иссо слайд\PHOTO-2025-07-16-09-40-35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054" y="4388735"/>
            <a:ext cx="2055273" cy="1662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/>
          <p:cNvSpPr txBox="1"/>
          <p:nvPr/>
        </p:nvSpPr>
        <p:spPr>
          <a:xfrm>
            <a:off x="8114708" y="2008981"/>
            <a:ext cx="4405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о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015178" y="4034480"/>
            <a:ext cx="7649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сле</a:t>
            </a:r>
          </a:p>
        </p:txBody>
      </p:sp>
    </p:spTree>
    <p:extLst>
      <p:ext uri="{BB962C8B-B14F-4D97-AF65-F5344CB8AC3E}">
        <p14:creationId xmlns:p14="http://schemas.microsoft.com/office/powerpoint/2010/main" val="23467271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3E89B2-D5C1-D73D-09E9-BCB3A8CAC8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32FB4E69-61F4-1CCC-638E-A010BE13488C}"/>
              </a:ext>
            </a:extLst>
          </p:cNvPr>
          <p:cNvSpPr/>
          <p:nvPr/>
        </p:nvSpPr>
        <p:spPr>
          <a:xfrm>
            <a:off x="563336" y="4205705"/>
            <a:ext cx="478884" cy="2948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271D7DE4-2359-CCBC-60DA-297C23CDBB77}"/>
              </a:ext>
            </a:extLst>
          </p:cNvPr>
          <p:cNvSpPr/>
          <p:nvPr/>
        </p:nvSpPr>
        <p:spPr>
          <a:xfrm>
            <a:off x="1857097" y="4205705"/>
            <a:ext cx="842011" cy="2456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48597D0-52F8-17CD-0848-9737DC95F55E}"/>
              </a:ext>
            </a:extLst>
          </p:cNvPr>
          <p:cNvSpPr/>
          <p:nvPr/>
        </p:nvSpPr>
        <p:spPr>
          <a:xfrm>
            <a:off x="4051989" y="4205705"/>
            <a:ext cx="478884" cy="2948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3B84492-473A-0DDA-729B-1CCB15D47A3A}"/>
              </a:ext>
            </a:extLst>
          </p:cNvPr>
          <p:cNvSpPr/>
          <p:nvPr/>
        </p:nvSpPr>
        <p:spPr>
          <a:xfrm>
            <a:off x="5345742" y="4205705"/>
            <a:ext cx="842011" cy="2456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47BEADB4-2AC3-A606-9B0D-8990E5818F19}"/>
              </a:ext>
            </a:extLst>
          </p:cNvPr>
          <p:cNvSpPr/>
          <p:nvPr/>
        </p:nvSpPr>
        <p:spPr>
          <a:xfrm>
            <a:off x="7372956" y="4205705"/>
            <a:ext cx="478884" cy="2948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67C1EA13-0BC0-61C2-E34A-51D05241D0FC}"/>
              </a:ext>
            </a:extLst>
          </p:cNvPr>
          <p:cNvSpPr/>
          <p:nvPr/>
        </p:nvSpPr>
        <p:spPr>
          <a:xfrm>
            <a:off x="8674881" y="4205705"/>
            <a:ext cx="842011" cy="2456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3F24C200-AE09-22CF-BF30-214469D8371E}"/>
              </a:ext>
            </a:extLst>
          </p:cNvPr>
          <p:cNvSpPr/>
          <p:nvPr/>
        </p:nvSpPr>
        <p:spPr>
          <a:xfrm>
            <a:off x="1129481" y="4376153"/>
            <a:ext cx="948322" cy="2456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8EA6327D-5716-7421-68F8-313AD3B75D03}"/>
              </a:ext>
            </a:extLst>
          </p:cNvPr>
          <p:cNvSpPr/>
          <p:nvPr/>
        </p:nvSpPr>
        <p:spPr>
          <a:xfrm>
            <a:off x="7932595" y="4376153"/>
            <a:ext cx="924548" cy="2456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3D772FE-F058-B28B-95D2-87D57E121472}"/>
              </a:ext>
            </a:extLst>
          </p:cNvPr>
          <p:cNvSpPr txBox="1"/>
          <p:nvPr/>
        </p:nvSpPr>
        <p:spPr>
          <a:xfrm>
            <a:off x="199427" y="1007207"/>
            <a:ext cx="8983841" cy="10002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541338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целях рационального использования остаточного ресурса специального подвижного состава, содержания техники в исправном техническом состоянии, а также беспрепятственного допуска на МЖС подвижного состава, в</a:t>
            </a:r>
            <a:r>
              <a:rPr kumimoji="0" lang="ru-RU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ыполнен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капитальный ремонт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241 единиц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с продлением срока службы.</a:t>
            </a:r>
          </a:p>
          <a:p>
            <a:pPr marL="0" marR="0" lvl="0" indent="541338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63337" y="220572"/>
            <a:ext cx="87140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all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prstClr val="white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КАПИТАЛЬНЫЙ РЕМОНТ СПЕЦИАЛЬНОГО ПОВИЖНОГО СОСТАВА 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C3B84492-473A-0DDA-729B-1CCB15D47A3A}"/>
              </a:ext>
            </a:extLst>
          </p:cNvPr>
          <p:cNvSpPr/>
          <p:nvPr/>
        </p:nvSpPr>
        <p:spPr>
          <a:xfrm>
            <a:off x="6770399" y="2439142"/>
            <a:ext cx="842011" cy="2456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337" y="687824"/>
            <a:ext cx="8821738" cy="55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9" descr="Логотип copy">
            <a:extLst>
              <a:ext uri="{FF2B5EF4-FFF2-40B4-BE49-F238E27FC236}">
                <a16:creationId xmlns:a16="http://schemas.microsoft.com/office/drawing/2014/main" id="{AB6FE514-FEB2-4704-AD99-6A94F0D504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4607" y="12536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65EC5444-5054-4C3A-84AA-A6E1A527D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60456" y="6343647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109" y="4261213"/>
            <a:ext cx="3111936" cy="176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1064" y="4266297"/>
            <a:ext cx="3047634" cy="17668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" descr="D:\111\ЦЖСмех\2024\Нурлан 2024\Вагоны\5edd46d9befbe.png">
            <a:extLst>
              <a:ext uri="{FF2B5EF4-FFF2-40B4-BE49-F238E27FC236}">
                <a16:creationId xmlns:a16="http://schemas.microsoft.com/office/drawing/2014/main" id="{914D5FFD-692B-1D31-ADFC-537BCBB1D9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1065" y="2236789"/>
            <a:ext cx="2950478" cy="1763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487" y="2236788"/>
            <a:ext cx="3167872" cy="176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4" descr="http://sevtranscom.kz/upload/images/small/52143_128599_1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474" y="2236788"/>
            <a:ext cx="2579039" cy="1763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5" descr="C:\Users\Kudassova_ZH\Desktop\foto_planirovshchik_ballasta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4618" y="4151882"/>
            <a:ext cx="2797062" cy="196749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10591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39555" y="238921"/>
            <a:ext cx="9906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0" y="114312"/>
            <a:ext cx="9748882" cy="88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 КАЧЕСТВЕ ПРЕДОСТАВЛЯЕМЫХ УСЛУГ ЗА 2025 ГОД 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 flipV="1">
            <a:off x="777181" y="865810"/>
            <a:ext cx="8351638" cy="727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8014235" y="4702182"/>
            <a:ext cx="54689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8014235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8014235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8014235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8014235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8014235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8014235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8014235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8014235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8014235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8014235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8014235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8014235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8014235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8014235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8014235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8014233" y="4702182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8014233" y="4702182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8014233" y="4702182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8014237" y="4702182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8014237" y="4702182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8014237" y="4702182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8014237" y="4702182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8014237" y="4702182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8014237" y="4702182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8014247" y="4702182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8014247" y="4702182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8014247" y="4702182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8014247" y="4702182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8014247" y="4702182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8014247" y="4702182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8014247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8014247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8014247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8024569" y="4702182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8024569" y="4702182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8024569" y="4702182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8024569" y="4702182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8024569" y="4702182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8024569" y="4702182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8024569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8024569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8024569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8014259" y="4702182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8014259" y="4702182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8014259" y="4702182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8014259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8014259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8014259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543563"/>
              </p:ext>
            </p:extLst>
          </p:nvPr>
        </p:nvGraphicFramePr>
        <p:xfrm>
          <a:off x="777181" y="1105265"/>
          <a:ext cx="8351638" cy="5373718"/>
        </p:xfrm>
        <a:graphic>
          <a:graphicData uri="http://schemas.openxmlformats.org/drawingml/2006/table">
            <a:tbl>
              <a:tblPr/>
              <a:tblGrid>
                <a:gridCol w="45092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6399">
                  <a:extLst>
                    <a:ext uri="{9D8B030D-6E8A-4147-A177-3AD203B41FA5}">
                      <a16:colId xmlns:a16="http://schemas.microsoft.com/office/drawing/2014/main" val="991715903"/>
                    </a:ext>
                  </a:extLst>
                </a:gridCol>
                <a:gridCol w="1421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44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818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План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2025 года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Факт</a:t>
                      </a:r>
                      <a:b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2025 год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к плану 2025г,</a:t>
                      </a:r>
                    </a:p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3255">
                <a:tc>
                  <a:txBody>
                    <a:bodyPr/>
                    <a:lstStyle/>
                    <a:p>
                      <a:pPr marL="857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вышение скоростей для пассажирских поездов, </a:t>
                      </a:r>
                      <a:r>
                        <a:rPr lang="ru-RU" sz="16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м</a:t>
                      </a: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0</a:t>
                      </a: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23</a:t>
                      </a: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1</a:t>
                      </a: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4549">
                <a:tc>
                  <a:txBody>
                    <a:bodyPr/>
                    <a:lstStyle/>
                    <a:p>
                      <a:pPr marL="857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857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вышение скоростей для грузовых поездов, </a:t>
                      </a:r>
                      <a:r>
                        <a:rPr lang="ru-RU" sz="16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9913">
                <a:tc>
                  <a:txBody>
                    <a:bodyPr/>
                    <a:lstStyle/>
                    <a:p>
                      <a:pPr marL="857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1" u="none" strike="noStrike" kern="1200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kern="1200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kern="1200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2703998"/>
                  </a:ext>
                </a:extLst>
              </a:tr>
              <a:tr h="6818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План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r>
                        <a:rPr lang="ru-RU" sz="1600" b="1" i="0" u="none" strike="noStrike" baseline="0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Факт </a:t>
                      </a:r>
                    </a:p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2025 год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К</a:t>
                      </a:r>
                      <a:r>
                        <a:rPr lang="ru-RU" sz="1600" b="1" i="0" u="none" strike="noStrike" baseline="0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плану</a:t>
                      </a: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2025</a:t>
                      </a:r>
                      <a:r>
                        <a:rPr lang="ru-RU" sz="1600" b="1" i="0" u="none" strike="noStrike" baseline="0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г,</a:t>
                      </a:r>
                    </a:p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90529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лучшение  плавности хода поездов за счет увеличения протяженности бесстыкового </a:t>
                      </a:r>
                    </a:p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ути, </a:t>
                      </a:r>
                      <a:r>
                        <a:rPr lang="ru-RU" sz="16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м</a:t>
                      </a: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0</a:t>
                      </a: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8</a:t>
                      </a: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45078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величение длины плетей бесстыкового пути,</a:t>
                      </a:r>
                      <a:r>
                        <a:rPr lang="kk-KZ" sz="16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</a:p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6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ар плетей</a:t>
                      </a:r>
                    </a:p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- до блок-участка </a:t>
                      </a: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</a:t>
                      </a: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</a:t>
                      </a: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 fontAlgn="b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 fontAlgn="b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 fontAlgn="b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3</a:t>
                      </a:r>
                    </a:p>
                    <a:p>
                      <a:pPr algn="ctr" fontAlgn="b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7960730"/>
                  </a:ext>
                </a:extLst>
              </a:tr>
              <a:tr h="372822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41" marR="9341" marT="934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9013010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482988" y="6463274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18" name="Picture 9" descr="Логотип copy">
            <a:extLst>
              <a:ext uri="{FF2B5EF4-FFF2-40B4-BE49-F238E27FC236}">
                <a16:creationId xmlns:a16="http://schemas.microsoft.com/office/drawing/2014/main" id="{FDF1F497-19E2-4691-B4B5-9601294439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7006" y="63811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38064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39555" y="238922"/>
            <a:ext cx="9906000" cy="620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121452" y="113817"/>
            <a:ext cx="8995478" cy="88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НАРУШЕНИЯ БЕЗОПАСНОСТИ ДВИЖЕНИЯ (НБД) В ПЕРИОД С 2018 ГОДА ПО 2025 ГОД ПО ФИЛИАЛУ АО «НК «КТЖ» – «ДИРЕКЦИЯ МАГИСТРАЛЬНОЙ СЕТИ» 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>
            <a:off x="585589" y="1044352"/>
            <a:ext cx="8813932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8014234" y="4702180"/>
            <a:ext cx="54689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graphicFrame>
        <p:nvGraphicFramePr>
          <p:cNvPr id="716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0266314"/>
              </p:ext>
            </p:extLst>
          </p:nvPr>
        </p:nvGraphicFramePr>
        <p:xfrm>
          <a:off x="326253" y="644333"/>
          <a:ext cx="9332604" cy="3626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632088" y="6562401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20" name="Picture 9" descr="Логотип copy">
            <a:extLst>
              <a:ext uri="{FF2B5EF4-FFF2-40B4-BE49-F238E27FC236}">
                <a16:creationId xmlns:a16="http://schemas.microsoft.com/office/drawing/2014/main" id="{FCFA7563-3983-4F13-A93C-5DB986F3ED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2293" y="65075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18" name="Таблица 717">
            <a:extLst>
              <a:ext uri="{FF2B5EF4-FFF2-40B4-BE49-F238E27FC236}">
                <a16:creationId xmlns:a16="http://schemas.microsoft.com/office/drawing/2014/main" id="{DA6016BC-9EE6-47EF-B928-7D73D57D1F26}"/>
              </a:ext>
            </a:extLst>
          </p:cNvPr>
          <p:cNvGraphicFramePr>
            <a:graphicFrameLocks noGrp="1"/>
          </p:cNvGraphicFramePr>
          <p:nvPr/>
        </p:nvGraphicFramePr>
        <p:xfrm>
          <a:off x="219219" y="4312771"/>
          <a:ext cx="9546672" cy="2474495"/>
        </p:xfrm>
        <a:graphic>
          <a:graphicData uri="http://schemas.openxmlformats.org/drawingml/2006/table">
            <a:tbl>
              <a:tblPr/>
              <a:tblGrid>
                <a:gridCol w="11600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58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07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80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3807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38077">
                  <a:extLst>
                    <a:ext uri="{9D8B030D-6E8A-4147-A177-3AD203B41FA5}">
                      <a16:colId xmlns:a16="http://schemas.microsoft.com/office/drawing/2014/main" val="108951930"/>
                    </a:ext>
                  </a:extLst>
                </a:gridCol>
                <a:gridCol w="111830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20631">
                  <a:extLst>
                    <a:ext uri="{9D8B030D-6E8A-4147-A177-3AD203B41FA5}">
                      <a16:colId xmlns:a16="http://schemas.microsoft.com/office/drawing/2014/main" val="114525211"/>
                    </a:ext>
                  </a:extLst>
                </a:gridCol>
                <a:gridCol w="1116841">
                  <a:extLst>
                    <a:ext uri="{9D8B030D-6E8A-4147-A177-3AD203B41FA5}">
                      <a16:colId xmlns:a16="http://schemas.microsoft.com/office/drawing/2014/main" val="4110457069"/>
                    </a:ext>
                  </a:extLst>
                </a:gridCol>
              </a:tblGrid>
              <a:tr h="39548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рушения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2018 </a:t>
                      </a:r>
                      <a:r>
                        <a:rPr lang="ru-RU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/>
                      </a:endParaRP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2019 </a:t>
                      </a:r>
                      <a:r>
                        <a:rPr lang="ru-RU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/>
                      </a:endParaRP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2020 </a:t>
                      </a:r>
                      <a:r>
                        <a:rPr lang="ru-RU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/>
                      </a:endParaRP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2021 </a:t>
                      </a:r>
                      <a:r>
                        <a:rPr lang="ru-RU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/>
                      </a:endParaRP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2022 </a:t>
                      </a:r>
                      <a:r>
                        <a:rPr lang="ru-RU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/>
                      </a:endParaRP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2023 </a:t>
                      </a:r>
                      <a:r>
                        <a:rPr lang="ru-RU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/>
                      </a:endParaRP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2024 год</a:t>
                      </a: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2025 год</a:t>
                      </a: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620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НБД</a:t>
                      </a: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НБД</a:t>
                      </a: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НБД</a:t>
                      </a: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НБД</a:t>
                      </a: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НБД</a:t>
                      </a: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НБД</a:t>
                      </a: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-во НБД</a:t>
                      </a: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-во НБД</a:t>
                      </a:r>
                    </a:p>
                  </a:txBody>
                  <a:tcPr marL="7711" marR="7711" marT="71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941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рушение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975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бытия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11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циденты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6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4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359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 НБД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8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6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</a:t>
                      </a:r>
                    </a:p>
                  </a:txBody>
                  <a:tcPr marL="7711" marR="7711" marT="711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39682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928686" y="66779"/>
            <a:ext cx="8048625" cy="504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742950">
              <a:defRPr/>
            </a:pPr>
            <a:endParaRPr lang="ru-RU" sz="1463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992514" y="26661"/>
            <a:ext cx="7920967" cy="388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4290" tIns="37145" rIns="74290" bIns="37145" anchor="ctr"/>
          <a:lstStyle/>
          <a:p>
            <a:pPr lvl="0" algn="ctr">
              <a:defRPr/>
            </a:pPr>
            <a:r>
              <a:rPr lang="ru-RU" sz="1600" b="1" dirty="0"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О РАБОТЕ С ПОТРЕБИТЕЛЯМИ УСЛУГ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>
            <a:off x="852855" y="436360"/>
            <a:ext cx="7920967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defTabSz="742950">
              <a:defRPr/>
            </a:pPr>
            <a:endParaRPr lang="ru-RU" sz="1463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7440253" y="4463460"/>
            <a:ext cx="44435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7440252" y="4463460"/>
            <a:ext cx="494655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7440252" y="4463460"/>
            <a:ext cx="494655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7440252" y="4463460"/>
            <a:ext cx="494655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7440272" y="4463460"/>
            <a:ext cx="56172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7440272" y="4463460"/>
            <a:ext cx="56172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7440272" y="4463460"/>
            <a:ext cx="56172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2853" y="587267"/>
            <a:ext cx="9463903" cy="6158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ru-RU" sz="1550" dirty="0">
                <a:latin typeface="Times New Roman" pitchFamily="18" charset="0"/>
                <a:cs typeface="Times New Roman" pitchFamily="18" charset="0"/>
              </a:rPr>
              <a:t>            В целях повышения качества предоставляемых услуг в настоящее время АО «НК «ҚТЖ» руководствуется принятой Программой развития объектов магистральной железнодорожной сети                    на 2023-2029 гг. которая разработана на основе стратегических документов Республики Казахстан, предусматривающей повышение пропускной способности путем реализации крупных инфраструктурных проектов и проектов, затрагивающих ликвидацию «узких мест», при безусловном обеспечении безопасности движения поездов и охраны труда и здоровья работников Компании. Данная Программа декомпозирована на целевые программы и предусматривает развитие всех хозяйств.</a:t>
            </a:r>
          </a:p>
          <a:p>
            <a:pPr marL="285750" lvl="0" indent="-285750" algn="just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вершены работы по развитию инфраструктуры для повышения пропускной способности:</a:t>
            </a:r>
          </a:p>
          <a:p>
            <a:pPr marL="742950" lvl="2" indent="-285750" algn="just">
              <a:lnSpc>
                <a:spcPct val="150000"/>
              </a:lnSpc>
              <a:spcAft>
                <a:spcPts val="488"/>
              </a:spcAft>
              <a:buFont typeface="Arial" panose="020B0604020202020204" pitchFamily="34" charset="0"/>
              <a:buChar char="•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торых путей на участке </a:t>
            </a:r>
            <a:r>
              <a:rPr lang="ru-RU" sz="155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остык</a:t>
            </a: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ru-RU" sz="155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ойынты</a:t>
            </a: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742950" lvl="2" indent="-285750" algn="just">
              <a:lnSpc>
                <a:spcPct val="150000"/>
              </a:lnSpc>
              <a:spcAft>
                <a:spcPts val="488"/>
              </a:spcAft>
              <a:buFont typeface="Arial" panose="020B0604020202020204" pitchFamily="34" charset="0"/>
              <a:buChar char="•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бводной железнодорожной линии вокруг узла Алматы; </a:t>
            </a:r>
          </a:p>
          <a:p>
            <a:pPr marL="742950" lvl="2" indent="-285750" algn="just">
              <a:lnSpc>
                <a:spcPct val="150000"/>
              </a:lnSpc>
              <a:spcAft>
                <a:spcPts val="488"/>
              </a:spcAft>
              <a:buFont typeface="Arial" panose="020B0604020202020204" pitchFamily="34" charset="0"/>
              <a:buChar char="•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4-х разъездов на участке Жезказган – Кызылжар;</a:t>
            </a:r>
          </a:p>
          <a:p>
            <a:pPr marL="742950" lvl="2" indent="-285750" algn="just">
              <a:lnSpc>
                <a:spcPct val="150000"/>
              </a:lnSpc>
              <a:spcAft>
                <a:spcPts val="488"/>
              </a:spcAft>
              <a:buFont typeface="Arial" panose="020B0604020202020204" pitchFamily="34" charset="0"/>
              <a:buChar char="•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вершены  работы по развитию станции Кызылжар (построены 4 новых пути и удлинен 1 путь);</a:t>
            </a:r>
          </a:p>
          <a:p>
            <a:pPr marL="742950" lvl="2" indent="-285750" algn="just">
              <a:lnSpc>
                <a:spcPct val="150000"/>
              </a:lnSpc>
              <a:spcAft>
                <a:spcPts val="488"/>
              </a:spcAft>
              <a:buFont typeface="Arial" panose="020B0604020202020204" pitchFamily="34" charset="0"/>
              <a:buChar char="•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величена перерабатывающая способность за счет развития станции Аксу-1 и строительства 1 пути по станции </a:t>
            </a:r>
            <a:r>
              <a:rPr lang="ru-RU" sz="155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ндирис</a:t>
            </a: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457200" lvl="2" algn="just">
              <a:lnSpc>
                <a:spcPct val="150000"/>
              </a:lnSpc>
              <a:spcAft>
                <a:spcPts val="488"/>
              </a:spcAft>
              <a:defRPr/>
            </a:pPr>
            <a:endParaRPr lang="ru-RU" sz="1550" dirty="0">
              <a:solidFill>
                <a:prstClr val="black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endParaRPr lang="ru-RU" sz="155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478431" y="6539902"/>
            <a:ext cx="1250167" cy="318098"/>
          </a:xfrm>
        </p:spPr>
        <p:txBody>
          <a:bodyPr/>
          <a:lstStyle/>
          <a:p>
            <a:pPr defTabSz="742950">
              <a:defRPr/>
            </a:pPr>
            <a:fld id="{66D1F56F-C712-4B28-9A2C-A96C353C48BC}" type="slidenum">
              <a:rPr lang="ru-RU" sz="1000" smtClean="0">
                <a:solidFill>
                  <a:prstClr val="black">
                    <a:tint val="75000"/>
                  </a:prstClr>
                </a:solidFill>
              </a:rPr>
              <a:pPr defTabSz="742950">
                <a:defRPr/>
              </a:pPr>
              <a:t>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717" name="Picture 9" descr="Логотип copy">
            <a:extLst>
              <a:ext uri="{FF2B5EF4-FFF2-40B4-BE49-F238E27FC236}">
                <a16:creationId xmlns:a16="http://schemas.microsoft.com/office/drawing/2014/main" id="{BEFB5D2D-D858-43C3-9CAD-7BA12E4235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7512" y="8587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86096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928686" y="56320"/>
            <a:ext cx="8048625" cy="504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742950">
              <a:defRPr/>
            </a:pPr>
            <a:endParaRPr lang="ru-RU" sz="1463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992514" y="-21071"/>
            <a:ext cx="7920967" cy="388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4290" tIns="37145" rIns="74290" bIns="37145" anchor="ctr"/>
          <a:lstStyle/>
          <a:p>
            <a:pPr lvl="0" algn="ctr">
              <a:defRPr/>
            </a:pPr>
            <a:r>
              <a:rPr lang="ru-RU" sz="1600" b="1" dirty="0"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О РАБОТЕ С ПОТРЕБИТЕЛЯМИ УСЛУГ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>
            <a:off x="928686" y="367691"/>
            <a:ext cx="7920967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defTabSz="742950">
              <a:defRPr/>
            </a:pPr>
            <a:endParaRPr lang="ru-RU" sz="1463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7440253" y="4463460"/>
            <a:ext cx="44435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7440252" y="4463460"/>
            <a:ext cx="494655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7440252" y="4463460"/>
            <a:ext cx="494655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7440252" y="4463460"/>
            <a:ext cx="494655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7440272" y="4463460"/>
            <a:ext cx="56172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7440272" y="4463460"/>
            <a:ext cx="56172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7440272" y="4463460"/>
            <a:ext cx="56172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21045" y="318943"/>
            <a:ext cx="9463903" cy="62640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должается реализация мероприятий по развитию инфраструктуры, направленных на увеличение пропускной способности, в том числе посредством строительства:</a:t>
            </a:r>
            <a:endParaRPr lang="ru-RU" sz="1550" dirty="0">
              <a:solidFill>
                <a:prstClr val="black"/>
              </a:solidFill>
              <a:highlight>
                <a:srgbClr val="808080"/>
              </a:highlight>
              <a:latin typeface="Times New Roman" pitchFamily="18" charset="0"/>
              <a:cs typeface="Times New Roman" pitchFamily="18" charset="0"/>
            </a:endParaRPr>
          </a:p>
          <a:p>
            <a:pPr marL="742950" lvl="1" indent="-285750" algn="just">
              <a:spcAft>
                <a:spcPts val="488"/>
              </a:spcAft>
              <a:buFont typeface="Arial" panose="020B0604020202020204" pitchFamily="34" charset="0"/>
              <a:buChar char="•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Железнодорожной линии </a:t>
            </a:r>
            <a:r>
              <a:rPr lang="ru-RU" sz="155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арбаза</a:t>
            </a: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ru-RU" sz="155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актаарал</a:t>
            </a: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(протяженность 173 км)</a:t>
            </a:r>
          </a:p>
          <a:p>
            <a:pPr marL="742950" lvl="1" indent="-285750" algn="just">
              <a:spcAft>
                <a:spcPts val="488"/>
              </a:spcAft>
              <a:buFont typeface="Arial" panose="020B0604020202020204" pitchFamily="34" charset="0"/>
              <a:buChar char="•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Железнодорожной линии Кызылжар – </a:t>
            </a:r>
            <a:r>
              <a:rPr lang="ru-RU" sz="155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ойынты</a:t>
            </a: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(протяженность 366 км)</a:t>
            </a:r>
          </a:p>
          <a:p>
            <a:pPr marL="742950" lvl="1" indent="-285750" algn="just">
              <a:spcAft>
                <a:spcPts val="488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Железнодорожной линии </a:t>
            </a:r>
            <a:r>
              <a:rPr lang="ru-RU" sz="16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Бахты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 – </a:t>
            </a:r>
            <a:r>
              <a:rPr lang="ru-RU" sz="16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Аягоз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 (протяженность 297 км)</a:t>
            </a:r>
            <a:endParaRPr lang="ru-RU" sz="155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742950" lvl="1" indent="-285750" algn="just">
              <a:spcAft>
                <a:spcPts val="488"/>
              </a:spcAft>
              <a:buFont typeface="Arial" panose="020B0604020202020204" pitchFamily="34" charset="0"/>
              <a:buChar char="•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акже выполняются работы:</a:t>
            </a:r>
          </a:p>
          <a:p>
            <a:pPr marL="360000" lvl="0" algn="just">
              <a:spcAft>
                <a:spcPts val="350"/>
              </a:spcAft>
              <a:defRPr/>
            </a:pPr>
            <a:r>
              <a:rPr lang="ru-RU" sz="150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     - по модернизации участка </a:t>
            </a:r>
            <a:r>
              <a:rPr lang="ru-RU" sz="1500" dirty="0" err="1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Алтынколь</a:t>
            </a:r>
            <a:r>
              <a:rPr lang="ru-RU" sz="150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– </a:t>
            </a:r>
            <a:r>
              <a:rPr lang="ru-RU" sz="1500" dirty="0" err="1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Жетыген</a:t>
            </a:r>
            <a:r>
              <a:rPr lang="ru-RU" sz="150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(протяженность 293 км)</a:t>
            </a:r>
          </a:p>
          <a:p>
            <a:pPr marL="360000" lvl="0" algn="just">
              <a:spcAft>
                <a:spcPts val="350"/>
              </a:spcAft>
              <a:defRPr/>
            </a:pPr>
            <a:r>
              <a:rPr lang="ru-RU" sz="150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     - по развитию приёмоотправочных путей на железнодорожном участке Бейнеу – </a:t>
            </a:r>
            <a:r>
              <a:rPr lang="ru-RU" sz="1500" dirty="0" err="1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Мангистау</a:t>
            </a:r>
            <a:r>
              <a:rPr lang="ru-RU" sz="150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      </a:t>
            </a:r>
          </a:p>
          <a:p>
            <a:pPr marL="360000" lvl="0" algn="just">
              <a:spcAft>
                <a:spcPts val="350"/>
              </a:spcAft>
              <a:defRPr/>
            </a:pPr>
            <a:r>
              <a:rPr lang="ru-RU" sz="150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       (протяженность 404 км)</a:t>
            </a:r>
          </a:p>
          <a:p>
            <a:pPr marL="360000" lvl="0" algn="just">
              <a:spcAft>
                <a:spcPts val="350"/>
              </a:spcAft>
              <a:defRPr/>
            </a:pPr>
            <a:r>
              <a:rPr lang="ru-RU" sz="150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     - по внедрению автоблокировок на участках Кандыагаш – Тобол, Аксу – Жана-Семей, </a:t>
            </a:r>
          </a:p>
          <a:p>
            <a:pPr marL="360000" lvl="0" algn="just">
              <a:spcAft>
                <a:spcPts val="350"/>
              </a:spcAft>
              <a:defRPr/>
            </a:pPr>
            <a:r>
              <a:rPr lang="ru-RU" sz="150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        </a:t>
            </a:r>
            <a:r>
              <a:rPr lang="ru-RU" sz="1500" dirty="0" err="1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Алимбет</a:t>
            </a:r>
            <a:r>
              <a:rPr lang="ru-RU" sz="150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– Никельтау, </a:t>
            </a:r>
            <a:r>
              <a:rPr lang="ru-RU" sz="1500" dirty="0">
                <a:solidFill>
                  <a:prstClr val="black"/>
                </a:solidFill>
                <a:latin typeface="Times New Roman" panose="02020603050405020304" pitchFamily="18" charset="0"/>
              </a:rPr>
              <a:t>Кызылжар – Саксаульская, Шалкар – Бейнеу (протяженность 2 267 км).                          </a:t>
            </a:r>
            <a:endParaRPr lang="ru-RU" sz="155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357188" lvl="0" indent="-357188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странено «узкое место» на участке Кызылжар - Жезказган, что позволило увеличить пропускную способность с 8 до 17 пар поездов в сутки. </a:t>
            </a:r>
          </a:p>
          <a:p>
            <a:pPr marL="357188" lvl="0" indent="-357188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осстановлен 21 путь на 11-ти станциях: </a:t>
            </a:r>
            <a:r>
              <a:rPr lang="ru-RU" sz="155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урксиб</a:t>
            </a: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– 3 пути, Шу, </a:t>
            </a:r>
            <a:r>
              <a:rPr lang="ru-RU" sz="155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Шыганак</a:t>
            </a: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– 3 пути, </a:t>
            </a:r>
            <a:r>
              <a:rPr lang="ru-RU" sz="155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шкулын</a:t>
            </a: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– 2 пути, Екибастуз-3 – 2 пути,  Балхаш – 3 пути, Кульсары – 2 пути, </a:t>
            </a:r>
            <a:r>
              <a:rPr lang="ru-RU" sz="155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акинка</a:t>
            </a: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55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есногорьковская</a:t>
            </a: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, Атбасар, Чильбастау – 2 пути.</a:t>
            </a:r>
          </a:p>
          <a:p>
            <a:pPr marL="357188" lvl="0" indent="-357188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ыполнены работы по строительству хозяйственным способом 2-х съездов на станциях Тобол и Оскемен.</a:t>
            </a:r>
          </a:p>
          <a:p>
            <a:pPr marL="357188" lvl="0" indent="-357188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Реализована производственная программа, предусматривающей проведение ремонтных работ пути, при плане 1 </a:t>
            </a:r>
            <a:r>
              <a:rPr lang="ru-RU" sz="155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480 км факт </a:t>
            </a:r>
            <a:r>
              <a:rPr lang="ru-RU" sz="15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ыполнения составил 1 575 км или 106%.</a:t>
            </a:r>
            <a:endParaRPr lang="ru-RU" sz="1550" dirty="0">
              <a:solidFill>
                <a:prstClr val="black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478431" y="6539902"/>
            <a:ext cx="1250167" cy="318098"/>
          </a:xfrm>
        </p:spPr>
        <p:txBody>
          <a:bodyPr/>
          <a:lstStyle/>
          <a:p>
            <a:pPr defTabSz="742950">
              <a:defRPr/>
            </a:pPr>
            <a:fld id="{66D1F56F-C712-4B28-9A2C-A96C353C48BC}" type="slidenum">
              <a:rPr lang="ru-RU" sz="1000" smtClean="0">
                <a:solidFill>
                  <a:prstClr val="black">
                    <a:tint val="75000"/>
                  </a:prstClr>
                </a:solidFill>
              </a:rPr>
              <a:pPr defTabSz="742950">
                <a:defRPr/>
              </a:pPr>
              <a:t>18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717" name="Picture 9" descr="Логотип copy">
            <a:extLst>
              <a:ext uri="{FF2B5EF4-FFF2-40B4-BE49-F238E27FC236}">
                <a16:creationId xmlns:a16="http://schemas.microsoft.com/office/drawing/2014/main" id="{BEFB5D2D-D858-43C3-9CAD-7BA12E4235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7512" y="8587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64322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928686" y="66779"/>
            <a:ext cx="8048625" cy="504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6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992514" y="71997"/>
            <a:ext cx="7920967" cy="388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4290" tIns="37145" rIns="74290" bIns="37145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 РАБОТЕ С ПОТРЕБИТЕЛЯМИ УСЛУГ (ПРОДОЛЖЕНИЕ)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>
            <a:off x="1372337" y="460117"/>
            <a:ext cx="7161320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6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7440253" y="4463460"/>
            <a:ext cx="44435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7440252" y="4463460"/>
            <a:ext cx="494655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7440252" y="4463460"/>
            <a:ext cx="494655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7440252" y="4463460"/>
            <a:ext cx="494655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7440272" y="4463460"/>
            <a:ext cx="56172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7440272" y="4463460"/>
            <a:ext cx="56172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7440272" y="4463460"/>
            <a:ext cx="56172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607" y="616239"/>
            <a:ext cx="9186723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lvl="0" indent="-357188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существляются работы по капитальному ремонту моста протяженностью 728 метров на участке </a:t>
            </a:r>
            <a:r>
              <a:rPr lang="ru-RU" sz="16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Жилаево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– Пойма.</a:t>
            </a:r>
          </a:p>
          <a:p>
            <a:pPr marL="357188" lvl="0" indent="-357188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беспечено выполнение ремонтных работ собственными силами на 100 объектах ИССО, что стало возможным благодаря созданию специализированных мостовых отрядов (СМО) в регионах Астана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и  Актобе. В ходе работ по текущему </a:t>
            </a:r>
            <a:r>
              <a:rPr lang="ru-RU" sz="1600">
                <a:latin typeface="Times New Roman" pitchFamily="18" charset="0"/>
                <a:cs typeface="Times New Roman" pitchFamily="18" charset="0"/>
              </a:rPr>
              <a:t>содержанию устранено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537 дефектов: 2 категории – 2384</a:t>
            </a:r>
            <a:r>
              <a:rPr lang="ru-RU" sz="1600">
                <a:latin typeface="Times New Roman" pitchFamily="18" charset="0"/>
                <a:cs typeface="Times New Roman" pitchFamily="18" charset="0"/>
              </a:rPr>
              <a:t>,    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атегории – 153.</a:t>
            </a:r>
          </a:p>
          <a:p>
            <a:pPr marL="357188" lvl="0" indent="-357188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ыполнены работы по модернизации 12 187 км контактной сети, включая замену 60 шт. опор электроснабжения, 12 570 шт. изоляторов, а также укладку проводов ПБСМ общей протяженностью 28 км.</a:t>
            </a:r>
          </a:p>
          <a:p>
            <a:pPr marL="357188" lvl="0" indent="-357188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веден текущий ремонт по улучшению 8 730 км воздушной линии электропередачи, включая замену 739 шт. опор и укладку проводов СИП протяженностью 64 км. </a:t>
            </a:r>
          </a:p>
          <a:p>
            <a:pPr marL="357188" lvl="0" indent="-357188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веден текущий ремонт на 65-ти тяговых подстанциях, тяговых трансформаторов – 167 ед., трансформаторов тока – 182 ед., а также трансформаторов напряжения – 253 ед.</a:t>
            </a:r>
          </a:p>
          <a:p>
            <a:pPr marL="45720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478431" y="6539902"/>
            <a:ext cx="1250167" cy="318098"/>
          </a:xfrm>
        </p:spPr>
        <p:txBody>
          <a:bodyPr/>
          <a:lstStyle/>
          <a:p>
            <a:pPr marL="0" marR="0" lvl="0" indent="0" algn="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429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97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17" name="Picture 9" descr="Логотип copy">
            <a:extLst>
              <a:ext uri="{FF2B5EF4-FFF2-40B4-BE49-F238E27FC236}">
                <a16:creationId xmlns:a16="http://schemas.microsoft.com/office/drawing/2014/main" id="{BEFB5D2D-D858-43C3-9CAD-7BA12E4235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6416" y="36606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5423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39555" y="238922"/>
            <a:ext cx="9906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-103055" y="223088"/>
            <a:ext cx="9906000" cy="4875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СОДЕРЖАНИЕ ОТЧЕТА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>
            <a:off x="442979" y="850299"/>
            <a:ext cx="8813932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8014234" y="4702180"/>
            <a:ext cx="54689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44203" y="903775"/>
            <a:ext cx="9125940" cy="4934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бщая информация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б объемах предоставленных регулируемых услуг;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б основных финансово-экономических показателях монопольной деятельности за 2025 год;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 постатейном исполнении тарифной сметы на регулируемые услуги магистральной железнодорожной сети за 2025 год;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б исполнении инвестиционной программы за 2025 год;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 качестве предоставляемых услуг;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 проводимой работе с потребителями регулируемых услуг;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 перспективах деятельности (планы развития).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506738" y="6463276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18" name="Picture 9" descr="Логотип copy">
            <a:extLst>
              <a:ext uri="{FF2B5EF4-FFF2-40B4-BE49-F238E27FC236}">
                <a16:creationId xmlns:a16="http://schemas.microsoft.com/office/drawing/2014/main" id="{E757EEF1-3ED5-46B1-A7DF-82F712E0A7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3228" y="89881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38065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928684" y="-3301"/>
            <a:ext cx="8048625" cy="504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742950">
              <a:defRPr/>
            </a:pPr>
            <a:endParaRPr lang="ru-RU" sz="1463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992512" y="-40468"/>
            <a:ext cx="7920967" cy="388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4290" tIns="37145" rIns="74290" bIns="37145" anchor="ctr"/>
          <a:lstStyle/>
          <a:p>
            <a:pPr lvl="0" algn="ctr">
              <a:defRPr/>
            </a:pPr>
            <a:r>
              <a:rPr lang="ru-RU" sz="1600" b="1" dirty="0"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О РАБОТЕ С ПОТРЕБИТЕЛЯМИ УСЛУГ (ПРОДОЛЖЕНИЕ)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>
            <a:off x="1317111" y="335878"/>
            <a:ext cx="7161320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defTabSz="742950">
              <a:defRPr/>
            </a:pPr>
            <a:endParaRPr lang="ru-RU" sz="1463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7440253" y="4463460"/>
            <a:ext cx="44435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7440253" y="4241602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7440253" y="4700786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7440253" y="10931327"/>
            <a:ext cx="444351" cy="46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7440253" y="3783707"/>
            <a:ext cx="44435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7440252" y="4463460"/>
            <a:ext cx="494655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7440252" y="4463460"/>
            <a:ext cx="494655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7440252" y="4463460"/>
            <a:ext cx="494655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7440252" y="4700786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7440252" y="10946805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7440252" y="4241602"/>
            <a:ext cx="494655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7440255" y="4463460"/>
            <a:ext cx="511423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7440255" y="4700786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7440255" y="10946805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7440255" y="4241602"/>
            <a:ext cx="511423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7440264" y="4463460"/>
            <a:ext cx="528191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7440264" y="4700786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7440264" y="10946805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7440264" y="4241602"/>
            <a:ext cx="528191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7448649" y="4463460"/>
            <a:ext cx="64556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7448649" y="4700786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7448649" y="10946805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7448649" y="4241602"/>
            <a:ext cx="64556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7440272" y="4463460"/>
            <a:ext cx="56172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7440272" y="4463460"/>
            <a:ext cx="56172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7440272" y="4463460"/>
            <a:ext cx="561727" cy="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7440272" y="4241602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7440272" y="4700790"/>
            <a:ext cx="561727" cy="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7440272" y="10946805"/>
            <a:ext cx="561727" cy="10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42950" eaLnBrk="1" hangingPunct="1">
              <a:defRPr/>
            </a:pPr>
            <a:endParaRPr lang="ru-RU" sz="1138" dirty="0">
              <a:solidFill>
                <a:prstClr val="black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0506" y="443345"/>
            <a:ext cx="9110444" cy="60856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5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ведены в эксплуатацию устройства микропроцессорной централизации (МПЦ) с интегрированной системой централизации и блокировки (ЦАБ) на участках </a:t>
            </a:r>
            <a:r>
              <a:rPr lang="ru-RU" sz="15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ойынты</a:t>
            </a:r>
            <a:r>
              <a:rPr lang="ru-RU" sz="15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- Балхаш, Бесколь - </a:t>
            </a:r>
            <a:r>
              <a:rPr lang="ru-RU" sz="15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остык</a:t>
            </a:r>
            <a:r>
              <a:rPr lang="ru-RU" sz="15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, Бесколь - Разъезд 2, что обеспечило повышение уровня безопасности и эффективности управления движением поездов на железнодорожных станциях и перегонах.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5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строены ПСГО на 10 станциях. Также выполнена замена оборудования электропитания ЭЦ, включая  31 ед. панелей питания, 39 ед. дизель-генераторных агрегатов (ДГА).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5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недрена система МП АСДЦ (манёвровые районы и горки) на 19 станциях.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5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тверждена программа развития сортировочных систем, в рамках которой:</a:t>
            </a:r>
          </a:p>
          <a:p>
            <a:pPr marL="742950" lvl="2" indent="-285750" algn="just">
              <a:spcAft>
                <a:spcPts val="488"/>
              </a:spcAft>
              <a:buFont typeface="Arial" panose="020B0604020202020204" pitchFamily="34" charset="0"/>
              <a:buChar char="•"/>
              <a:defRPr/>
            </a:pPr>
            <a:r>
              <a:rPr lang="ru-RU" sz="15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ключен договор и осуществляется разработка ПСД для модернизации четной горки </a:t>
            </a:r>
            <a:r>
              <a:rPr lang="ru-RU" sz="15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т.Караганда</a:t>
            </a:r>
            <a:r>
              <a:rPr lang="ru-RU" sz="15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Сортировочная;</a:t>
            </a:r>
          </a:p>
          <a:p>
            <a:pPr marL="742950" lvl="2" indent="-285750" algn="just">
              <a:spcAft>
                <a:spcPts val="488"/>
              </a:spcAft>
              <a:buFont typeface="Arial" panose="020B0604020202020204" pitchFamily="34" charset="0"/>
              <a:buChar char="•"/>
              <a:defRPr/>
            </a:pPr>
            <a:r>
              <a:rPr lang="ru-RU" sz="15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азработаны технические задания на ПСД для модернизации нечетной горки ст. Караганда-Сортировочная, горки ст. Актогай. 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ключены договора на оказание услуг МЖС в пассажирском движении - 15, в грузовом – 3                    ( в том числе 2 частных перевозчика).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огласно приказам КРЕМ РК пассажирским перевозчикам предоставлен временный понижающий коэффициент в размере 0,01 к тарифу на услуги МЖС при перевозке пассажиров железнодорожным транспортом. Общая сумма ВПК за 2025 год составила 20 млрд .тенге. 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  <a:defRPr/>
            </a:pPr>
            <a:endParaRPr lang="ru-RU" sz="16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478431" y="6539902"/>
            <a:ext cx="1250167" cy="318098"/>
          </a:xfrm>
        </p:spPr>
        <p:txBody>
          <a:bodyPr/>
          <a:lstStyle/>
          <a:p>
            <a:pPr defTabSz="742950">
              <a:defRPr/>
            </a:pPr>
            <a:fld id="{66D1F56F-C712-4B28-9A2C-A96C353C48BC}" type="slidenum">
              <a:rPr lang="ru-RU" sz="1000" smtClean="0">
                <a:solidFill>
                  <a:prstClr val="black">
                    <a:tint val="75000"/>
                  </a:prstClr>
                </a:solidFill>
              </a:rPr>
              <a:pPr defTabSz="742950">
                <a:defRPr/>
              </a:pPr>
              <a:t>20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717" name="Picture 9" descr="Логотип copy">
            <a:extLst>
              <a:ext uri="{FF2B5EF4-FFF2-40B4-BE49-F238E27FC236}">
                <a16:creationId xmlns:a16="http://schemas.microsoft.com/office/drawing/2014/main" id="{BEFB5D2D-D858-43C3-9CAD-7BA12E4235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8078" y="25521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49900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39555" y="-190575"/>
            <a:ext cx="9906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-39555" y="-235490"/>
            <a:ext cx="9748882" cy="88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 ПЕРСПЕКТИВАХ ДЕЯТЕЛЬНОСТИ НА 2026 ГОД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 flipV="1">
            <a:off x="422967" y="367557"/>
            <a:ext cx="8708717" cy="5622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8014234" y="4702180"/>
            <a:ext cx="54689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4736" y="312828"/>
            <a:ext cx="9622705" cy="6708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marR="0" lvl="0" indent="-357188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ru-RU" sz="156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существить  модернизацию инфраструктуры для повышения пропускной способности:</a:t>
            </a:r>
          </a:p>
          <a:p>
            <a:pPr marL="645750" lvl="0" indent="-285750" algn="just">
              <a:spcAft>
                <a:spcPts val="350"/>
              </a:spcAft>
              <a:buFont typeface="Arial" panose="020B0604020202020204" pitchFamily="34" charset="0"/>
              <a:buChar char="•"/>
              <a:defRPr/>
            </a:pPr>
            <a:r>
              <a:rPr lang="ru-RU" sz="156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должить строительство ж/д линии </a:t>
            </a:r>
            <a:r>
              <a:rPr lang="ru-RU" sz="156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Бахты-Аягоз</a:t>
            </a:r>
            <a:r>
              <a:rPr lang="ru-RU" sz="156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645750" lvl="0" indent="-285750" algn="just">
              <a:spcAft>
                <a:spcPts val="350"/>
              </a:spcAft>
              <a:buFont typeface="Arial" panose="020B0604020202020204" pitchFamily="34" charset="0"/>
              <a:buChar char="•"/>
              <a:defRPr/>
            </a:pPr>
            <a:r>
              <a:rPr lang="ru-RU" sz="156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беспечить запуск движения по ж/д линии Кызылжар-</a:t>
            </a:r>
            <a:r>
              <a:rPr lang="ru-RU" sz="156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ойынты</a:t>
            </a:r>
            <a:r>
              <a:rPr lang="ru-RU" sz="156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645750" lvl="0" indent="-285750" algn="just">
              <a:spcAft>
                <a:spcPts val="350"/>
              </a:spcAft>
              <a:buFont typeface="Arial" panose="020B0604020202020204" pitchFamily="34" charset="0"/>
              <a:buChar char="•"/>
              <a:defRPr/>
            </a:pPr>
            <a:r>
              <a:rPr lang="ru-RU" sz="156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вершить строительство ж/д линии </a:t>
            </a:r>
            <a:r>
              <a:rPr lang="ru-RU" sz="156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арбаза-Мактаарал</a:t>
            </a:r>
            <a:r>
              <a:rPr lang="ru-RU" sz="156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;</a:t>
            </a:r>
            <a:endParaRPr lang="en-US" sz="156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645750" lvl="0" indent="-285750" algn="just">
              <a:spcAft>
                <a:spcPts val="350"/>
              </a:spcAft>
              <a:buFont typeface="Arial" panose="020B0604020202020204" pitchFamily="34" charset="0"/>
              <a:buChar char="•"/>
              <a:defRPr/>
            </a:pPr>
            <a:r>
              <a:rPr lang="ru-RU" sz="156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Завершить работы по строительству:</a:t>
            </a:r>
          </a:p>
          <a:p>
            <a:pPr marL="360000" lvl="0" algn="just">
              <a:spcAft>
                <a:spcPts val="350"/>
              </a:spcAft>
              <a:defRPr/>
            </a:pPr>
            <a:r>
              <a:rPr lang="ru-RU" sz="156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     - модернизация участка </a:t>
            </a:r>
            <a:r>
              <a:rPr lang="ru-RU" sz="1560" dirty="0" err="1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Алтынколь</a:t>
            </a:r>
            <a:r>
              <a:rPr lang="ru-RU" sz="156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– </a:t>
            </a:r>
            <a:r>
              <a:rPr lang="ru-RU" sz="1560" dirty="0" err="1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Жетыген</a:t>
            </a:r>
            <a:r>
              <a:rPr lang="ru-RU" sz="156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; </a:t>
            </a:r>
          </a:p>
          <a:p>
            <a:pPr marL="360000" lvl="0" algn="just">
              <a:spcAft>
                <a:spcPts val="350"/>
              </a:spcAft>
              <a:defRPr/>
            </a:pPr>
            <a:r>
              <a:rPr lang="ru-RU" sz="156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     - приёмоотправочных путей на железнодорожном участке Бейнеу – </a:t>
            </a:r>
            <a:r>
              <a:rPr lang="ru-RU" sz="1560" dirty="0" err="1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Мангистау</a:t>
            </a:r>
            <a:r>
              <a:rPr lang="ru-RU" sz="156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;       </a:t>
            </a:r>
          </a:p>
          <a:p>
            <a:pPr marL="360000" lvl="0" algn="just">
              <a:spcAft>
                <a:spcPts val="350"/>
              </a:spcAft>
              <a:defRPr/>
            </a:pPr>
            <a:r>
              <a:rPr lang="ru-RU" sz="156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     - автоблокировок на участках Кандыагаш – Тобол, Аксу – Жана-Семей, </a:t>
            </a:r>
            <a:r>
              <a:rPr lang="ru-RU" sz="1560" dirty="0" err="1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Алимбет</a:t>
            </a:r>
            <a:r>
              <a:rPr lang="ru-RU" sz="1560" dirty="0">
                <a:solidFill>
                  <a:prstClr val="black"/>
                </a:solidFill>
                <a:latin typeface="Times New Roman" panose="02020603050405020304" pitchFamily="18" charset="0"/>
                <a:ea typeface="Aptos" panose="020B0004020202020204" pitchFamily="34" charset="0"/>
              </a:rPr>
              <a:t> – Никельтау;                      </a:t>
            </a:r>
          </a:p>
          <a:p>
            <a:pPr marL="360000" lvl="0" algn="just">
              <a:spcAft>
                <a:spcPts val="350"/>
              </a:spcAft>
              <a:defRPr/>
            </a:pPr>
            <a:r>
              <a:rPr lang="ru-RU" sz="1560" dirty="0">
                <a:solidFill>
                  <a:prstClr val="black"/>
                </a:solidFill>
                <a:latin typeface="Times New Roman" panose="02020603050405020304" pitchFamily="18" charset="0"/>
              </a:rPr>
              <a:t>        Кызылжар –  Саксаульская, Шалкар – Бейнеу.                        </a:t>
            </a:r>
          </a:p>
          <a:p>
            <a:pPr marL="357188" lvl="0" indent="-357188" algn="just">
              <a:lnSpc>
                <a:spcPct val="150000"/>
              </a:lnSpc>
              <a:spcAft>
                <a:spcPts val="350"/>
              </a:spcAft>
              <a:buFont typeface="Wingdings" pitchFamily="2" charset="2"/>
              <a:buChar char="v"/>
              <a:defRPr/>
            </a:pPr>
            <a:r>
              <a:rPr lang="ru-RU" sz="1560" dirty="0">
                <a:latin typeface="Times New Roman" pitchFamily="18" charset="0"/>
                <a:cs typeface="Times New Roman" pitchFamily="18" charset="0"/>
              </a:rPr>
              <a:t>В рамках реализации проектов по модернизации инфраструктуры продолжить выполнение работ по развитию станций, включая:</a:t>
            </a:r>
          </a:p>
          <a:p>
            <a:pPr marL="645750" indent="-285750" algn="just">
              <a:lnSpc>
                <a:spcPct val="150000"/>
              </a:lnSpc>
              <a:spcAft>
                <a:spcPts val="350"/>
              </a:spcAft>
              <a:buFont typeface="Arial" panose="020B0604020202020204" pitchFamily="34" charset="0"/>
              <a:buChar char="•"/>
              <a:defRPr/>
            </a:pPr>
            <a:r>
              <a:rPr lang="ru-RU" sz="156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троительство 65 новых раздельных пунктов; </a:t>
            </a:r>
          </a:p>
          <a:p>
            <a:pPr marL="645750" indent="-285750" algn="just">
              <a:lnSpc>
                <a:spcPct val="150000"/>
              </a:lnSpc>
              <a:spcAft>
                <a:spcPts val="350"/>
              </a:spcAft>
              <a:buFont typeface="Arial" panose="020B0604020202020204" pitchFamily="34" charset="0"/>
              <a:buChar char="•"/>
              <a:defRPr/>
            </a:pPr>
            <a:r>
              <a:rPr lang="ru-RU" sz="156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азвитие 26 действующих станций и 2-х сортировочных систем малой мощности; </a:t>
            </a:r>
          </a:p>
          <a:p>
            <a:pPr marL="645750" indent="-285750" algn="just">
              <a:lnSpc>
                <a:spcPct val="150000"/>
              </a:lnSpc>
              <a:spcAft>
                <a:spcPts val="350"/>
              </a:spcAft>
              <a:buFont typeface="Arial" panose="020B0604020202020204" pitchFamily="34" charset="0"/>
              <a:buChar char="•"/>
              <a:defRPr/>
            </a:pPr>
            <a:r>
              <a:rPr lang="ru-RU" sz="156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троительство обводных путей по станциям Кандыагаш и Никельтау.</a:t>
            </a:r>
          </a:p>
          <a:p>
            <a:pPr marL="357188" lvl="0" indent="-357188" algn="just">
              <a:lnSpc>
                <a:spcPct val="150000"/>
              </a:lnSpc>
              <a:spcAft>
                <a:spcPts val="350"/>
              </a:spcAft>
              <a:buFont typeface="Wingdings" pitchFamily="2" charset="2"/>
              <a:buChar char="v"/>
              <a:defRPr/>
            </a:pPr>
            <a:r>
              <a:rPr lang="ru-RU" sz="1560" dirty="0">
                <a:latin typeface="Times New Roman" pitchFamily="18" charset="0"/>
                <a:cs typeface="Times New Roman" pitchFamily="18" charset="0"/>
              </a:rPr>
              <a:t>Приступить к реализации 24 проектов на 45 станциях, направленных на развитие станционной инфраструктуры, включая удлинение станционных путей, строительство диспетчерских съездов, а также восстановление сортировочных систем.</a:t>
            </a:r>
          </a:p>
          <a:p>
            <a:pPr marL="357188" lvl="0" indent="-357188" algn="just">
              <a:lnSpc>
                <a:spcPct val="150000"/>
              </a:lnSpc>
              <a:spcAft>
                <a:spcPts val="350"/>
              </a:spcAft>
              <a:buFont typeface="Wingdings" pitchFamily="2" charset="2"/>
              <a:buChar char="v"/>
              <a:defRPr/>
            </a:pPr>
            <a:r>
              <a:rPr lang="ru-RU" sz="1560" dirty="0">
                <a:latin typeface="Times New Roman" pitchFamily="18" charset="0"/>
                <a:cs typeface="Times New Roman" pitchFamily="18" charset="0"/>
              </a:rPr>
              <a:t>Восстановить 10 путей на 6 станциях: Карагай, </a:t>
            </a:r>
            <a:r>
              <a:rPr lang="ru-RU" sz="1560" dirty="0" err="1">
                <a:latin typeface="Times New Roman" pitchFamily="18" charset="0"/>
                <a:cs typeface="Times New Roman" pitchFamily="18" charset="0"/>
              </a:rPr>
              <a:t>Пресногорьковская</a:t>
            </a:r>
            <a:r>
              <a:rPr lang="ru-RU" sz="156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560" dirty="0" err="1">
                <a:latin typeface="Times New Roman" pitchFamily="18" charset="0"/>
                <a:cs typeface="Times New Roman" pitchFamily="18" charset="0"/>
              </a:rPr>
              <a:t>Макинка</a:t>
            </a:r>
            <a:r>
              <a:rPr lang="ru-RU" sz="1560" dirty="0">
                <a:latin typeface="Times New Roman" pitchFamily="18" charset="0"/>
                <a:cs typeface="Times New Roman" pitchFamily="18" charset="0"/>
              </a:rPr>
              <a:t>, Кокшетау, </a:t>
            </a:r>
            <a:r>
              <a:rPr lang="ru-RU" sz="1560" dirty="0" err="1">
                <a:latin typeface="Times New Roman" pitchFamily="18" charset="0"/>
                <a:cs typeface="Times New Roman" pitchFamily="18" charset="0"/>
              </a:rPr>
              <a:t>Токибай</a:t>
            </a:r>
            <a:r>
              <a:rPr lang="ru-RU" sz="1560" dirty="0">
                <a:latin typeface="Times New Roman" pitchFamily="18" charset="0"/>
                <a:cs typeface="Times New Roman" pitchFamily="18" charset="0"/>
              </a:rPr>
              <a:t>, Уральск.</a:t>
            </a:r>
          </a:p>
          <a:p>
            <a:pPr marL="357188" lvl="0" indent="-357188" algn="just">
              <a:lnSpc>
                <a:spcPct val="150000"/>
              </a:lnSpc>
              <a:spcAft>
                <a:spcPts val="350"/>
              </a:spcAft>
              <a:buFont typeface="Wingdings" pitchFamily="2" charset="2"/>
              <a:buChar char="v"/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506738" y="6463276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18" name="Picture 9" descr="Логотип copy">
            <a:extLst>
              <a:ext uri="{FF2B5EF4-FFF2-40B4-BE49-F238E27FC236}">
                <a16:creationId xmlns:a16="http://schemas.microsoft.com/office/drawing/2014/main" id="{C773FAE6-174D-451A-9B30-C0A1388C36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5589" y="29599"/>
            <a:ext cx="546177" cy="566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65332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39555" y="238922"/>
            <a:ext cx="9906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39555" y="-175436"/>
            <a:ext cx="9748882" cy="88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 ПЕРСПЕКТИВАХ ДЕЯТЕЛЬНОСТИ НА 2026 ГОД (продолжение)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>
            <a:off x="585589" y="532651"/>
            <a:ext cx="8813932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8014234" y="4702180"/>
            <a:ext cx="54689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9555" y="497012"/>
            <a:ext cx="9593966" cy="39978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lvl="0" indent="-355600" algn="just">
              <a:lnSpc>
                <a:spcPct val="150000"/>
              </a:lnSpc>
              <a:spcAft>
                <a:spcPts val="350"/>
              </a:spcAft>
              <a:buFont typeface="Wingdings" pitchFamily="2" charset="2"/>
              <a:buChar char="v"/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едусматривается реализация производственной программы, включающей проведение ремонтных работ 1 577 </a:t>
            </a:r>
            <a:r>
              <a:rPr lang="ru-RU" sz="1600">
                <a:latin typeface="Times New Roman" pitchFamily="18" charset="0"/>
                <a:cs typeface="Times New Roman" pitchFamily="18" charset="0"/>
              </a:rPr>
              <a:t>км пути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355600" lvl="0" indent="-355600" algn="just">
              <a:lnSpc>
                <a:spcPct val="150000"/>
              </a:lnSpc>
              <a:spcAft>
                <a:spcPts val="350"/>
              </a:spcAft>
              <a:buFont typeface="Wingdings" pitchFamily="2" charset="2"/>
              <a:buChar char="v"/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ести силами специализированных мостовых отрядов ремонтные работы на 140 объектах.</a:t>
            </a:r>
          </a:p>
          <a:p>
            <a:pPr marL="355600" lvl="0" indent="-355600" algn="just">
              <a:lnSpc>
                <a:spcPct val="150000"/>
              </a:lnSpc>
              <a:spcAft>
                <a:spcPts val="350"/>
              </a:spcAft>
              <a:buFont typeface="Wingdings" pitchFamily="2" charset="2"/>
              <a:buChar char="v"/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ести текущий ремонт 12 187 км контактной сети, а также 12 198 км воздушной линии, путем замены опор, проводов, изоляторов и зажимов.</a:t>
            </a:r>
          </a:p>
          <a:p>
            <a:pPr marL="355600" lvl="0" indent="-355600" algn="just">
              <a:lnSpc>
                <a:spcPct val="150000"/>
              </a:lnSpc>
              <a:spcAft>
                <a:spcPts val="350"/>
              </a:spcAft>
              <a:buFont typeface="Wingdings" pitchFamily="2" charset="2"/>
              <a:buChar char="v"/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ыполнить текущий ремонт тяговых подстанций: 173 ед. тяговых трансформаторов, 408 ед. трансформаторов тока 110-220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кВ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а также 260 ед. трансформаторов напряжения.</a:t>
            </a:r>
          </a:p>
          <a:p>
            <a:pPr marL="355600" lvl="0" indent="-355600" algn="just">
              <a:lnSpc>
                <a:spcPct val="150000"/>
              </a:lnSpc>
              <a:spcAft>
                <a:spcPts val="350"/>
              </a:spcAft>
              <a:buFont typeface="Wingdings" pitchFamily="2" charset="2"/>
              <a:buChar char="v"/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Завершить строительно-монтажные работы сортировочных систем четной и нечетной горок ст. Караганда – Сортировочная.</a:t>
            </a:r>
          </a:p>
          <a:p>
            <a:pPr marL="355600" lvl="0" indent="-355600" algn="just">
              <a:lnSpc>
                <a:spcPct val="150000"/>
              </a:lnSpc>
              <a:spcAft>
                <a:spcPts val="350"/>
              </a:spcAft>
              <a:buFont typeface="Wingdings" pitchFamily="2" charset="2"/>
              <a:buChar char="v"/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506738" y="6463276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18" name="Picture 9" descr="Логотип copy">
            <a:extLst>
              <a:ext uri="{FF2B5EF4-FFF2-40B4-BE49-F238E27FC236}">
                <a16:creationId xmlns:a16="http://schemas.microsoft.com/office/drawing/2014/main" id="{564236F9-C430-4202-B4EF-7FD81C4D5F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5002" y="29600"/>
            <a:ext cx="571443" cy="59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75050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Прямоугольник 3"/>
          <p:cNvSpPr>
            <a:spLocks noChangeArrowheads="1"/>
          </p:cNvSpPr>
          <p:nvPr/>
        </p:nvSpPr>
        <p:spPr bwMode="auto">
          <a:xfrm>
            <a:off x="0" y="2579706"/>
            <a:ext cx="9906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28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СПАСИБО ЗА ВНИМАНИЕ</a:t>
            </a:r>
            <a:endParaRPr lang="ru-RU" sz="25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853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39555" y="238922"/>
            <a:ext cx="9906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endParaRPr lang="ru-RU" sz="1800" dirty="0"/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54173" y="238918"/>
            <a:ext cx="9906000" cy="4875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algn="ctr">
              <a:defRPr/>
            </a:pPr>
            <a:r>
              <a:rPr lang="ru-RU" sz="1800" b="1" dirty="0"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ПЕРЕЧЕНЬ  РЕГУЛИРУЕМЫХ УСЛУГ</a:t>
            </a:r>
            <a:endParaRPr lang="ru-RU" sz="1800" b="1" dirty="0">
              <a:solidFill>
                <a:srgbClr val="0070C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>
            <a:off x="434590" y="859635"/>
            <a:ext cx="8813932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 dirty="0">
              <a:latin typeface="Arial" charset="0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8014234" y="4702180"/>
            <a:ext cx="54689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01700" y="1470914"/>
            <a:ext cx="9125940" cy="3739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1200"/>
              </a:spcBef>
              <a:spcAft>
                <a:spcPts val="1200"/>
              </a:spcAft>
            </a:pPr>
            <a:r>
              <a:rPr lang="ru-RU" dirty="0">
                <a:latin typeface="Times New Roman" pitchFamily="18" charset="0"/>
                <a:cs typeface="Times New Roman" pitchFamily="18" charset="0"/>
              </a:rPr>
              <a:t>АО «НК «КТЖ», как субъект естественной монополии оказывает следующие услуги:</a:t>
            </a:r>
          </a:p>
          <a:p>
            <a:pPr algn="just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1.Услуги магистральной железнодорожной сети.</a:t>
            </a:r>
          </a:p>
          <a:p>
            <a:r>
              <a:rPr lang="ru-RU" b="1" dirty="0">
                <a:latin typeface="Times New Roman" pitchFamily="18" charset="0"/>
                <a:cs typeface="Times New Roman" pitchFamily="18" charset="0"/>
              </a:rPr>
              <a:t>2. Услуги подъездных путей,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включающие:</a:t>
            </a:r>
          </a:p>
          <a:p>
            <a:pPr>
              <a:lnSpc>
                <a:spcPct val="150000"/>
              </a:lnSpc>
            </a:pPr>
            <a:r>
              <a:rPr lang="ru-RU" i="1" dirty="0">
                <a:latin typeface="Times New Roman" pitchFamily="18" charset="0"/>
                <a:cs typeface="Times New Roman" pitchFamily="18" charset="0"/>
              </a:rPr>
              <a:t>2.1   для проезда подвижного состава;</a:t>
            </a:r>
          </a:p>
          <a:p>
            <a:pPr algn="just">
              <a:lnSpc>
                <a:spcPct val="150000"/>
              </a:lnSpc>
            </a:pPr>
            <a:r>
              <a:rPr lang="ru-RU" i="1" dirty="0">
                <a:latin typeface="Times New Roman" pitchFamily="18" charset="0"/>
                <a:cs typeface="Times New Roman" pitchFamily="18" charset="0"/>
              </a:rPr>
              <a:t>2.2 для маневровых работ, погрузки-выгрузки, других технологических операций перевозочного процесса, а также для стоянки подвижного состава, непредусмотренной технологическими операциями перевозочного процесса.</a:t>
            </a:r>
          </a:p>
          <a:p>
            <a:pPr algn="just"/>
            <a:endParaRPr lang="ru-RU" i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>
                <a:latin typeface="Times New Roman" pitchFamily="18" charset="0"/>
                <a:cs typeface="Times New Roman" pitchFamily="18" charset="0"/>
              </a:rPr>
              <a:t>3.  Услуги по передаче электрической энергии.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518613" y="6498901"/>
            <a:ext cx="2228850" cy="365125"/>
          </a:xfrm>
        </p:spPr>
        <p:txBody>
          <a:bodyPr/>
          <a:lstStyle/>
          <a:p>
            <a:pPr>
              <a:defRPr/>
            </a:pPr>
            <a:fld id="{66D1F56F-C712-4B28-9A2C-A96C353C48B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718" name="Picture 9" descr="Логотип copy">
            <a:extLst>
              <a:ext uri="{FF2B5EF4-FFF2-40B4-BE49-F238E27FC236}">
                <a16:creationId xmlns:a16="http://schemas.microsoft.com/office/drawing/2014/main" id="{A03D1A6A-17A1-49AB-9ECD-1568FDD86A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3228" y="89881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32793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-39555" y="221993"/>
            <a:ext cx="9906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-111447" y="2146"/>
            <a:ext cx="9748882" cy="88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БЩАЯ ИНФОРМАЦИЯ О СУБЪЕКТЕ ЕСТЕСТВЕННОЙ МОНОПОЛИИ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>
            <a:off x="356028" y="842706"/>
            <a:ext cx="8813932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8014234" y="4702180"/>
            <a:ext cx="54689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9233493"/>
              </p:ext>
            </p:extLst>
          </p:nvPr>
        </p:nvGraphicFramePr>
        <p:xfrm>
          <a:off x="426040" y="1135121"/>
          <a:ext cx="9145472" cy="5630104"/>
        </p:xfrm>
        <a:graphic>
          <a:graphicData uri="http://schemas.openxmlformats.org/drawingml/2006/table">
            <a:tbl>
              <a:tblPr/>
              <a:tblGrid>
                <a:gridCol w="69465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89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25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вернутая длина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1 146,0 </a:t>
                      </a:r>
                      <a:r>
                        <a:rPr lang="ru-RU" sz="1800" i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м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91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Эксплуатационная длина ж/д сети, в том числе: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6 003,1 </a:t>
                      </a:r>
                      <a:r>
                        <a:rPr lang="ru-RU" sz="1800" i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м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5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  - длина однопутных линий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 957,0 </a:t>
                      </a:r>
                      <a:r>
                        <a:rPr lang="ru-RU" sz="1800" i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м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75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  - длина двух и трехпутных линий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Эксплуатационная длина электрифицированных участков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 046,1 </a:t>
                      </a:r>
                      <a:r>
                        <a:rPr lang="ru-RU" sz="1800" i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 237,5 </a:t>
                      </a:r>
                      <a:r>
                        <a:rPr lang="ru-RU" sz="1800" i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м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75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вернутая длина бесстыковых путей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6 375,5 </a:t>
                      </a:r>
                      <a:r>
                        <a:rPr lang="ru-RU" sz="1800" i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м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5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межгосударственных стыковых пунктов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6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18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станций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33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45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отделений магистральной сети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81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ПЧ (дистанции пути)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7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25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ЭЧ (дистанции электроснабжения)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73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ШЧ (дистанция сигнализации и связи)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6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23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окзалы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i="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01 зданий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73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исленность работников АО «НК «КТЖ» (за 2025 год)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800" i="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1 509</a:t>
                      </a: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7342"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99059" marR="9905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494863" y="6498901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18" name="Picture 9" descr="Логотип copy">
            <a:extLst>
              <a:ext uri="{FF2B5EF4-FFF2-40B4-BE49-F238E27FC236}">
                <a16:creationId xmlns:a16="http://schemas.microsoft.com/office/drawing/2014/main" id="{81280603-5628-4A34-9C18-80226561F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3228" y="89881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4649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39555" y="238922"/>
            <a:ext cx="9906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0" y="67422"/>
            <a:ext cx="9748882" cy="88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lvl="0" algn="ctr">
              <a:defRPr/>
            </a:pPr>
            <a:r>
              <a:rPr lang="ru-RU" b="1" dirty="0"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ОБЪЕМ ПРЕДОСТАВЛЕННЫХ УСЛУГ ЗА 2025 ГОД 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>
            <a:off x="528540" y="859635"/>
            <a:ext cx="8813932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8014234" y="4702180"/>
            <a:ext cx="54689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1430553"/>
              </p:ext>
            </p:extLst>
          </p:nvPr>
        </p:nvGraphicFramePr>
        <p:xfrm>
          <a:off x="1728132" y="1087029"/>
          <a:ext cx="6296436" cy="4759903"/>
        </p:xfrm>
        <a:graphic>
          <a:graphicData uri="http://schemas.openxmlformats.org/drawingml/2006/table">
            <a:tbl>
              <a:tblPr/>
              <a:tblGrid>
                <a:gridCol w="32722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1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721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факт </a:t>
                      </a:r>
                      <a:b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 2025 год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8768">
                <a:tc>
                  <a:txBody>
                    <a:bodyPr/>
                    <a:lstStyle/>
                    <a:p>
                      <a:pPr marL="0" indent="180975" algn="l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рузооборот всего, млн.тк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09 4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129">
                <a:tc>
                  <a:txBody>
                    <a:bodyPr/>
                    <a:lstStyle/>
                    <a:p>
                      <a:pPr marL="0" marR="0" lvl="1" indent="1809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том числе по сообщениям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1994">
                <a:tc>
                  <a:txBody>
                    <a:bodyPr/>
                    <a:lstStyle/>
                    <a:p>
                      <a:pPr marL="0" marR="0" lvl="1" indent="1809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о внутриреспубликанско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3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1994">
                <a:tc>
                  <a:txBody>
                    <a:bodyPr/>
                    <a:lstStyle/>
                    <a:p>
                      <a:pPr marL="0" indent="180975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экспортно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4 5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8047">
                <a:tc>
                  <a:txBody>
                    <a:bodyPr/>
                    <a:lstStyle/>
                    <a:p>
                      <a:pPr marL="0" marR="0" lvl="1" indent="1809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мпортно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1 718</a:t>
                      </a:r>
                      <a:endParaRPr lang="ru-RU" sz="16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4211">
                <a:tc>
                  <a:txBody>
                    <a:bodyPr/>
                    <a:lstStyle/>
                    <a:p>
                      <a:pPr algn="l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041599">
                <a:tc>
                  <a:txBody>
                    <a:bodyPr/>
                    <a:lstStyle/>
                    <a:p>
                      <a:pPr marL="0" marR="0" lvl="1" indent="1809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бег пассажирских вагонов,</a:t>
                      </a:r>
                    </a:p>
                    <a:p>
                      <a:pPr marL="0" marR="0" lvl="1" indent="1809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(тыс. </a:t>
                      </a:r>
                      <a:r>
                        <a:rPr lang="ru-RU" sz="1600" b="1" i="0" u="none" strike="noStrike" kern="1200" baseline="0" dirty="0" err="1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аг.км</a:t>
                      </a:r>
                      <a:r>
                        <a:rPr lang="ru-RU" sz="16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)</a:t>
                      </a:r>
                    </a:p>
                    <a:p>
                      <a:pPr marL="0" marR="0" lvl="1" indent="1809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25 6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494863" y="6498901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18" name="Picture 9" descr="Логотип copy">
            <a:extLst>
              <a:ext uri="{FF2B5EF4-FFF2-40B4-BE49-F238E27FC236}">
                <a16:creationId xmlns:a16="http://schemas.microsoft.com/office/drawing/2014/main" id="{7ED43B27-7330-4ADC-8743-3E6A9D3A1F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3228" y="89881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40161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39555" y="238922"/>
            <a:ext cx="9906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0" y="-24598"/>
            <a:ext cx="9906000" cy="4875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СНОВНЫЕ ФИНАНСОВО-ЭКОНОМИЧЕСКИЕ ПОКАЗАТЕЛИ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МОНОПОЛЬНОЙ ДЕЯТЕЛЬНОСТИ ПО ИТОГАМ 2025 ГОДА 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>
            <a:off x="546034" y="958897"/>
            <a:ext cx="8813932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8014234" y="4702180"/>
            <a:ext cx="54689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9686050"/>
              </p:ext>
            </p:extLst>
          </p:nvPr>
        </p:nvGraphicFramePr>
        <p:xfrm>
          <a:off x="423631" y="1508340"/>
          <a:ext cx="9137847" cy="4496345"/>
        </p:xfrm>
        <a:graphic>
          <a:graphicData uri="http://schemas.openxmlformats.org/drawingml/2006/table">
            <a:tbl>
              <a:tblPr/>
              <a:tblGrid>
                <a:gridCol w="2671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94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5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144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68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288132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</a:p>
                    <a:p>
                      <a:pPr algn="ctr" fontAlgn="ctr"/>
                      <a:endParaRPr lang="ru-RU" sz="16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луги магистральной железнодорожной сети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луги</a:t>
                      </a:r>
                      <a:r>
                        <a:rPr lang="ru-RU" sz="16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дъездных </a:t>
                      </a:r>
                      <a:b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тей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луги </a:t>
                      </a:r>
                      <a:b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 передаче электрической энергии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68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591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ходы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30 006 629</a:t>
                      </a:r>
                    </a:p>
                  </a:txBody>
                  <a:tcPr marL="4549" marR="4549" marT="55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3 594</a:t>
                      </a:r>
                    </a:p>
                  </a:txBody>
                  <a:tcPr marL="4549" marR="4549" marT="55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5 068 395</a:t>
                      </a:r>
                    </a:p>
                  </a:txBody>
                  <a:tcPr marL="4549" marR="4549" marT="55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35 138 618</a:t>
                      </a:r>
                    </a:p>
                  </a:txBody>
                  <a:tcPr marL="4549" marR="4549" marT="55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42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53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53 568</a:t>
                      </a:r>
                    </a:p>
                  </a:txBody>
                  <a:tcPr marL="4549" marR="4549" marT="55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6 681</a:t>
                      </a:r>
                    </a:p>
                  </a:txBody>
                  <a:tcPr marL="4549" marR="4549" marT="55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6 984 208</a:t>
                      </a: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549" marR="4549" marT="55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761</a:t>
                      </a:r>
                      <a:r>
                        <a:rPr lang="en-US" sz="1600" b="0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044 457</a:t>
                      </a: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549" marR="4549" marT="55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4276">
                <a:tc>
                  <a:txBody>
                    <a:bodyPr/>
                    <a:lstStyle/>
                    <a:p>
                      <a:pPr marL="0" lvl="1" algn="ctr" defTabSz="914400" rtl="0" eaLnBrk="1" fontAlgn="ctr" latinLnBrk="0" hangingPunct="1"/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lvl="1" algn="ctr" defTabSz="91440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ибыль / (убыток)</a:t>
                      </a:r>
                    </a:p>
                    <a:p>
                      <a:pPr marL="0" algn="ctr" defTabSz="914400" rtl="0" eaLnBrk="1" fontAlgn="ctr" latinLnBrk="0" hangingPunct="1"/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6 053 061</a:t>
                      </a:r>
                    </a:p>
                  </a:txBody>
                  <a:tcPr marL="7739" marR="773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(43 087)</a:t>
                      </a:r>
                    </a:p>
                  </a:txBody>
                  <a:tcPr marL="7739" marR="773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(1 915 813)</a:t>
                      </a:r>
                    </a:p>
                  </a:txBody>
                  <a:tcPr marL="7739" marR="773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4</a:t>
                      </a:r>
                      <a:r>
                        <a:rPr lang="en-US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94 161</a:t>
                      </a: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739" marR="773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16" name="Rectangle 3"/>
          <p:cNvSpPr txBox="1">
            <a:spLocks noChangeArrowheads="1"/>
          </p:cNvSpPr>
          <p:nvPr/>
        </p:nvSpPr>
        <p:spPr bwMode="auto">
          <a:xfrm>
            <a:off x="8318636" y="1215565"/>
            <a:ext cx="1152127" cy="264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4556" tIns="47344" rIns="94556" bIns="47344" anchor="ctr">
            <a:spAutoFit/>
          </a:bodyPr>
          <a:lstStyle>
            <a:lvl1pPr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08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тыс. тенге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518613" y="6379155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19" name="Picture 9" descr="Логотип copy">
            <a:extLst>
              <a:ext uri="{FF2B5EF4-FFF2-40B4-BE49-F238E27FC236}">
                <a16:creationId xmlns:a16="http://schemas.microsoft.com/office/drawing/2014/main" id="{CED05E4E-253E-48FA-B895-F9842422A2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3228" y="89881"/>
            <a:ext cx="5984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41259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Прямоугольник 3"/>
          <p:cNvSpPr>
            <a:spLocks noChangeArrowheads="1"/>
          </p:cNvSpPr>
          <p:nvPr/>
        </p:nvSpPr>
        <p:spPr bwMode="auto">
          <a:xfrm>
            <a:off x="0" y="2579688"/>
            <a:ext cx="9906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Услуги магистральной железнодорожной сети</a:t>
            </a:r>
          </a:p>
        </p:txBody>
      </p:sp>
      <p:pic>
        <p:nvPicPr>
          <p:cNvPr id="3" name="Рисунок 24" descr="LogotipKTZH2.png">
            <a:extLst>
              <a:ext uri="{FF2B5EF4-FFF2-40B4-BE49-F238E27FC236}">
                <a16:creationId xmlns:a16="http://schemas.microsoft.com/office/drawing/2014/main" id="{BEF59BD3-7DDB-454B-BE94-EED471F25D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142"/>
          <a:stretch/>
        </p:blipFill>
        <p:spPr bwMode="auto">
          <a:xfrm>
            <a:off x="6188483" y="305756"/>
            <a:ext cx="3617399" cy="775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5829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24"/>
          <p:cNvSpPr>
            <a:spLocks noChangeArrowheads="1"/>
          </p:cNvSpPr>
          <p:nvPr/>
        </p:nvSpPr>
        <p:spPr bwMode="auto">
          <a:xfrm>
            <a:off x="39555" y="238922"/>
            <a:ext cx="9906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455" name="Rectangle 759"/>
          <p:cNvSpPr>
            <a:spLocks noChangeArrowheads="1"/>
          </p:cNvSpPr>
          <p:nvPr/>
        </p:nvSpPr>
        <p:spPr bwMode="auto">
          <a:xfrm>
            <a:off x="-240321" y="0"/>
            <a:ext cx="9750226" cy="4875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34" tIns="45717" rIns="91434" bIns="45717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prstClr val="white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ТЧЕТ ОБ ИСПОЛНЕНИИ ТАРИФНОЙ СМЕТЫ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prstClr val="white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НА РЕГУЛИРУЕМЫЕ УСЛУГИ МЖС ЗА 2025 ГОД</a:t>
            </a:r>
          </a:p>
        </p:txBody>
      </p:sp>
      <p:sp>
        <p:nvSpPr>
          <p:cNvPr id="6" name="Line 809"/>
          <p:cNvSpPr>
            <a:spLocks noChangeShapeType="1"/>
          </p:cNvSpPr>
          <p:nvPr/>
        </p:nvSpPr>
        <p:spPr bwMode="auto">
          <a:xfrm flipV="1">
            <a:off x="839472" y="488951"/>
            <a:ext cx="8086414" cy="5385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632" name="Text Box 1193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3" name="Text Box 864"/>
          <p:cNvSpPr txBox="1">
            <a:spLocks noChangeArrowheads="1"/>
          </p:cNvSpPr>
          <p:nvPr/>
        </p:nvSpPr>
        <p:spPr bwMode="auto">
          <a:xfrm>
            <a:off x="8014234" y="4702180"/>
            <a:ext cx="54689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4" name="Text Box 87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5" name="Text Box 87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6" name="Text Box 87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7" name="Text Box 87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8" name="Text Box 87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39" name="Text Box 88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0" name="Text Box 88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1" name="Text Box 88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2" name="Text Box 88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3" name="Text Box 88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4" name="Text Box 88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5" name="Text Box 88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6" name="Text Box 89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7" name="Text Box 89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8" name="Text Box 897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49" name="Text Box 90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0" name="Text Box 90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1" name="Text Box 90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2" name="Text Box 90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3" name="Text Box 90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4" name="Text Box 90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5" name="Text Box 90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6" name="Text Box 91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7" name="Text Box 91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8" name="Text Box 91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59" name="Text Box 915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0" name="Text Box 916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1" name="Text Box 91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2" name="Text Box 92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3" name="Text Box 924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4" name="Text Box 92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5" name="Text Box 92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6" name="Text Box 930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7" name="Text Box 93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8" name="Text Box 933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69" name="Text Box 93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0" name="Text Box 936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1" name="Text Box 937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2" name="Text Box 939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3" name="Text Box 940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4" name="Text Box 942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5" name="Text Box 943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6" name="Text Box 945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7" name="Text Box 948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8" name="Text Box 951"/>
          <p:cNvSpPr txBox="1">
            <a:spLocks noChangeArrowheads="1"/>
          </p:cNvSpPr>
          <p:nvPr/>
        </p:nvSpPr>
        <p:spPr bwMode="auto">
          <a:xfrm>
            <a:off x="8014234" y="442912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79" name="Text Box 968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0" name="Text Box 969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1" name="Text Box 971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2" name="Text Box 972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3" name="Text Box 974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4" name="Text Box 975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5" name="Text Box 977"/>
          <p:cNvSpPr txBox="1">
            <a:spLocks noChangeArrowheads="1"/>
          </p:cNvSpPr>
          <p:nvPr/>
        </p:nvSpPr>
        <p:spPr bwMode="auto">
          <a:xfrm>
            <a:off x="8014234" y="4994275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6" name="Text Box 978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7" name="Text Box 981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8" name="Text Box 984"/>
          <p:cNvSpPr txBox="1">
            <a:spLocks noChangeArrowheads="1"/>
          </p:cNvSpPr>
          <p:nvPr/>
        </p:nvSpPr>
        <p:spPr bwMode="auto">
          <a:xfrm>
            <a:off x="8014234" y="11871325"/>
            <a:ext cx="546894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89" name="Text Box 1053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0" name="Text Box 1054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1" name="Text Box 1055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2" name="Text Box 1056"/>
          <p:cNvSpPr txBox="1">
            <a:spLocks noChangeArrowheads="1"/>
          </p:cNvSpPr>
          <p:nvPr/>
        </p:nvSpPr>
        <p:spPr bwMode="auto">
          <a:xfrm>
            <a:off x="8014234" y="3865563"/>
            <a:ext cx="54689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3" name="Text Box 1065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4" name="Text Box 1068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5" name="Text Box 1071"/>
          <p:cNvSpPr txBox="1">
            <a:spLocks noChangeArrowheads="1"/>
          </p:cNvSpPr>
          <p:nvPr/>
        </p:nvSpPr>
        <p:spPr bwMode="auto">
          <a:xfrm>
            <a:off x="8014233" y="4702180"/>
            <a:ext cx="60880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6" name="Text Box 107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7" name="Text Box 107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8" name="Text Box 107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699" name="Text Box 107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0" name="Text Box 108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1" name="Text Box 108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2" name="Text Box 108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3" name="Text Box 108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4" name="Text Box 108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5" name="Text Box 108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6" name="Text Box 108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7" name="Text Box 109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8" name="Text Box 109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09" name="Text Box 109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0" name="Text Box 1098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1" name="Text Box 110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2" name="Text Box 110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3" name="Text Box 110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4" name="Text Box 110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5" name="Text Box 110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6" name="Text Box 110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7" name="Text Box 111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8" name="Text Box 111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19" name="Text Box 111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0" name="Text Box 111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1" name="Text Box 1116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2" name="Text Box 1117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3" name="Text Box 111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4" name="Text Box 112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5" name="Text Box 1125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6" name="Text Box 112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7" name="Text Box 112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8" name="Text Box 113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29" name="Text Box 113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0" name="Text Box 113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1" name="Text Box 113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2" name="Text Box 1137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3" name="Text Box 1138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4" name="Text Box 1140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5" name="Text Box 1141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6" name="Text Box 1143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7" name="Text Box 1144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8" name="Text Box 1146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39" name="Text Box 1149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0" name="Text Box 1152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1" name="Text Box 1169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2" name="Text Box 1170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3" name="Text Box 1172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4" name="Text Box 1173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5" name="Text Box 1175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6" name="Text Box 1176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7" name="Text Box 1178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8" name="Text Box 1179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49" name="Text Box 1181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0" name="Text Box 1182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1" name="Text Box 1184"/>
          <p:cNvSpPr txBox="1">
            <a:spLocks noChangeArrowheads="1"/>
          </p:cNvSpPr>
          <p:nvPr/>
        </p:nvSpPr>
        <p:spPr bwMode="auto">
          <a:xfrm>
            <a:off x="8014233" y="49942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2" name="Text Box 1185"/>
          <p:cNvSpPr txBox="1">
            <a:spLocks noChangeArrowheads="1"/>
          </p:cNvSpPr>
          <p:nvPr/>
        </p:nvSpPr>
        <p:spPr bwMode="auto">
          <a:xfrm>
            <a:off x="8014233" y="1189037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3" name="Text Box 1187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4" name="Text Box 1190"/>
          <p:cNvSpPr txBox="1">
            <a:spLocks noChangeArrowheads="1"/>
          </p:cNvSpPr>
          <p:nvPr/>
        </p:nvSpPr>
        <p:spPr bwMode="auto">
          <a:xfrm>
            <a:off x="8014233" y="4429125"/>
            <a:ext cx="60880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5" name="Text Box 57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6" name="Text Box 58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7" name="Text Box 585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8" name="Text Box 58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59" name="Text Box 58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0" name="Text Box 59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1" name="Text Box 59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2" name="Text Box 59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3" name="Text Box 59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4" name="Text Box 59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5" name="Text Box 59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6" name="Text Box 60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7" name="Text Box 60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8" name="Text Box 60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69" name="Text Box 60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0" name="Text Box 60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1" name="Text Box 60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2" name="Text Box 612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3" name="Text Box 61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4" name="Text Box 61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5" name="Text Box 61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6" name="Text Box 61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7" name="Text Box 62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8" name="Text Box 62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79" name="Text Box 62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0" name="Text Box 62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1" name="Text Box 62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2" name="Text Box 62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3" name="Text Box 63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4" name="Text Box 63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5" name="Text Box 63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6" name="Text Box 63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7" name="Text Box 63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8" name="Text Box 64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89" name="Text Box 64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0" name="Text Box 64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1" name="Text Box 64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2" name="Text Box 64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3" name="Text Box 64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4" name="Text Box 65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5" name="Text Box 65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6" name="Text Box 65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7" name="Text Box 65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8" name="Text Box 65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99" name="Text Box 65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0" name="Text Box 66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1" name="Text Box 66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2" name="Text Box 66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3" name="Text Box 68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4" name="Text Box 68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5" name="Text Box 68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6" name="Text Box 68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7" name="Text Box 68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8" name="Text Box 69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09" name="Text Box 69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0" name="Text Box 69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1" name="Text Box 69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2" name="Text Box 69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3" name="Text Box 69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4" name="Text Box 69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5" name="Text Box 70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6" name="Text Box 70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7" name="Text Box 70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8" name="Text Box 766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19" name="Text Box 769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0" name="Text Box 772"/>
          <p:cNvSpPr txBox="1">
            <a:spLocks noChangeArrowheads="1"/>
          </p:cNvSpPr>
          <p:nvPr/>
        </p:nvSpPr>
        <p:spPr bwMode="auto">
          <a:xfrm>
            <a:off x="8014237" y="4702180"/>
            <a:ext cx="6294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1" name="Text Box 77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2" name="Text Box 77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3" name="Text Box 77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4" name="Text Box 77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5" name="Text Box 78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6" name="Text Box 78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7" name="Text Box 78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8" name="Text Box 78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29" name="Text Box 78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0" name="Text Box 78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1" name="Text Box 79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2" name="Text Box 79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3" name="Text Box 79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4" name="Text Box 79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5" name="Text Box 799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6" name="Text Box 80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7" name="Text Box 80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8" name="Text Box 80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39" name="Text Box 80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0" name="Text Box 80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1" name="Text Box 80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2" name="Text Box 81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3" name="Text Box 81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4" name="Text Box 81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5" name="Text Box 81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6" name="Text Box 817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7" name="Text Box 818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8" name="Text Box 82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49" name="Text Box 82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0" name="Text Box 826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1" name="Text Box 82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2" name="Text Box 83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3" name="Text Box 83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4" name="Text Box 83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5" name="Text Box 83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6" name="Text Box 83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7" name="Text Box 838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8" name="Text Box 839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59" name="Text Box 841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0" name="Text Box 842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1" name="Text Box 844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2" name="Text Box 845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3" name="Text Box 847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4" name="Text Box 850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5" name="Text Box 853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6" name="Text Box 870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7" name="Text Box 871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8" name="Text Box 873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69" name="Text Box 874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0" name="Text Box 876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1" name="Text Box 877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2" name="Text Box 879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3" name="Text Box 880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4" name="Text Box 882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5" name="Text Box 883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6" name="Text Box 885"/>
          <p:cNvSpPr txBox="1">
            <a:spLocks noChangeArrowheads="1"/>
          </p:cNvSpPr>
          <p:nvPr/>
        </p:nvSpPr>
        <p:spPr bwMode="auto">
          <a:xfrm>
            <a:off x="8014237" y="49942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7" name="Text Box 886"/>
          <p:cNvSpPr txBox="1">
            <a:spLocks noChangeArrowheads="1"/>
          </p:cNvSpPr>
          <p:nvPr/>
        </p:nvSpPr>
        <p:spPr bwMode="auto">
          <a:xfrm>
            <a:off x="8014237" y="1189037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8" name="Text Box 888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79" name="Text Box 891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0" name="Text Box 894"/>
          <p:cNvSpPr txBox="1">
            <a:spLocks noChangeArrowheads="1"/>
          </p:cNvSpPr>
          <p:nvPr/>
        </p:nvSpPr>
        <p:spPr bwMode="auto">
          <a:xfrm>
            <a:off x="8014237" y="4429125"/>
            <a:ext cx="6294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1" name="Text Box 56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2" name="Text Box 56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3" name="Text Box 568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4" name="Text Box 57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5" name="Text Box 57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6" name="Text Box 57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7" name="Text Box 57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8" name="Text Box 57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89" name="Text Box 57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0" name="Text Box 58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1" name="Text Box 58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2" name="Text Box 58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3" name="Text Box 58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4" name="Text Box 58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5" name="Text Box 58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6" name="Text Box 58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7" name="Text Box 59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8" name="Text Box 595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899" name="Text Box 59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0" name="Text Box 59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1" name="Text Box 60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2" name="Text Box 60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3" name="Text Box 60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4" name="Text Box 60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5" name="Text Box 60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6" name="Text Box 60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7" name="Text Box 61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8" name="Text Box 61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09" name="Text Box 61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0" name="Text Box 61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1" name="Text Box 61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2" name="Text Box 61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3" name="Text Box 62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4" name="Text Box 62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5" name="Text Box 62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6" name="Text Box 62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7" name="Text Box 62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8" name="Text Box 63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19" name="Text Box 63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0" name="Text Box 63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1" name="Text Box 63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2" name="Text Box 63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3" name="Text Box 63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4" name="Text Box 64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5" name="Text Box 64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6" name="Text Box 64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7" name="Text Box 64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8" name="Text Box 64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29" name="Text Box 66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0" name="Text Box 66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1" name="Text Box 66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2" name="Text Box 67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3" name="Text Box 67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4" name="Text Box 67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5" name="Text Box 67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6" name="Text Box 67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7" name="Text Box 67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8" name="Text Box 67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39" name="Text Box 68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0" name="Text Box 68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1" name="Text Box 68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2" name="Text Box 68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3" name="Text Box 69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4" name="Text Box 749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5" name="Text Box 752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6" name="Text Box 755"/>
          <p:cNvSpPr txBox="1">
            <a:spLocks noChangeArrowheads="1"/>
          </p:cNvSpPr>
          <p:nvPr/>
        </p:nvSpPr>
        <p:spPr bwMode="auto">
          <a:xfrm>
            <a:off x="8014246" y="4702180"/>
            <a:ext cx="650081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7" name="Text Box 75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8" name="Text Box 75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49" name="Text Box 76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0" name="Text Box 76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1" name="Text Box 76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2" name="Text Box 76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3" name="Text Box 76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4" name="Text Box 76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5" name="Text Box 77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6" name="Text Box 77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7" name="Text Box 77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8" name="Text Box 77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59" name="Text Box 77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0" name="Text Box 77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1" name="Text Box 782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2" name="Text Box 78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3" name="Text Box 78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4" name="Text Box 78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5" name="Text Box 78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6" name="Text Box 79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7" name="Text Box 79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8" name="Text Box 79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69" name="Text Box 79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0" name="Text Box 79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1" name="Text Box 79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2" name="Text Box 800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3" name="Text Box 801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4" name="Text Box 80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5" name="Text Box 80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6" name="Text Box 809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7" name="Text Box 81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8" name="Text Box 81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79" name="Text Box 81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0" name="Text Box 81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1" name="Text Box 81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2" name="Text Box 81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3" name="Text Box 821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4" name="Text Box 822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5" name="Text Box 824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6" name="Text Box 825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7" name="Text Box 827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8" name="Text Box 828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89" name="Text Box 830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0" name="Text Box 833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1" name="Text Box 836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2" name="Text Box 853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3" name="Text Box 854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4" name="Text Box 856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5" name="Text Box 857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6" name="Text Box 859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7" name="Text Box 860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8" name="Text Box 862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99" name="Text Box 863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0" name="Text Box 865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1" name="Text Box 866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2" name="Text Box 868"/>
          <p:cNvSpPr txBox="1">
            <a:spLocks noChangeArrowheads="1"/>
          </p:cNvSpPr>
          <p:nvPr/>
        </p:nvSpPr>
        <p:spPr bwMode="auto">
          <a:xfrm>
            <a:off x="8014246" y="49942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3" name="Text Box 869"/>
          <p:cNvSpPr txBox="1">
            <a:spLocks noChangeArrowheads="1"/>
          </p:cNvSpPr>
          <p:nvPr/>
        </p:nvSpPr>
        <p:spPr bwMode="auto">
          <a:xfrm>
            <a:off x="8014246" y="1189037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4" name="Text Box 871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5" name="Text Box 874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6" name="Text Box 877"/>
          <p:cNvSpPr txBox="1">
            <a:spLocks noChangeArrowheads="1"/>
          </p:cNvSpPr>
          <p:nvPr/>
        </p:nvSpPr>
        <p:spPr bwMode="auto">
          <a:xfrm>
            <a:off x="8014246" y="4429125"/>
            <a:ext cx="65008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7" name="Text Box 56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8" name="Text Box 56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09" name="Text Box 568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0" name="Text Box 57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1" name="Text Box 57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2" name="Text Box 57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3" name="Text Box 57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4" name="Text Box 57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5" name="Text Box 57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6" name="Text Box 58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7" name="Text Box 58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8" name="Text Box 58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19" name="Text Box 58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0" name="Text Box 58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1" name="Text Box 58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2" name="Text Box 58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3" name="Text Box 59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4" name="Text Box 595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5" name="Text Box 59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6" name="Text Box 59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7" name="Text Box 60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8" name="Text Box 60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29" name="Text Box 60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0" name="Text Box 60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1" name="Text Box 60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2" name="Text Box 60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3" name="Text Box 61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4" name="Text Box 61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5" name="Text Box 61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6" name="Text Box 61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7" name="Text Box 61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8" name="Text Box 61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39" name="Text Box 62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0" name="Text Box 62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1" name="Text Box 62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2" name="Text Box 62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3" name="Text Box 62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4" name="Text Box 63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5" name="Text Box 63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6" name="Text Box 63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7" name="Text Box 63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8" name="Text Box 63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49" name="Text Box 63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0" name="Text Box 64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1" name="Text Box 64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2" name="Text Box 64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3" name="Text Box 64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4" name="Text Box 64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5" name="Text Box 66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6" name="Text Box 66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7" name="Text Box 66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8" name="Text Box 67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59" name="Text Box 67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0" name="Text Box 67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1" name="Text Box 67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2" name="Text Box 67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3" name="Text Box 67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4" name="Text Box 67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5" name="Text Box 68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6" name="Text Box 68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7" name="Text Box 68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8" name="Text Box 687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69" name="Text Box 69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0" name="Text Box 749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1" name="Text Box 752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2" name="Text Box 755"/>
          <p:cNvSpPr txBox="1">
            <a:spLocks noChangeArrowheads="1"/>
          </p:cNvSpPr>
          <p:nvPr/>
        </p:nvSpPr>
        <p:spPr bwMode="auto">
          <a:xfrm>
            <a:off x="8024568" y="4702180"/>
            <a:ext cx="794544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3" name="Text Box 75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4" name="Text Box 75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5" name="Text Box 76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6" name="Text Box 76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7" name="Text Box 76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8" name="Text Box 76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79" name="Text Box 76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0" name="Text Box 76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1" name="Text Box 77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2" name="Text Box 77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3" name="Text Box 77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4" name="Text Box 77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5" name="Text Box 77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6" name="Text Box 77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7" name="Text Box 782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8" name="Text Box 78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89" name="Text Box 78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0" name="Text Box 78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1" name="Text Box 78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2" name="Text Box 79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3" name="Text Box 79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4" name="Text Box 79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5" name="Text Box 79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6" name="Text Box 79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7" name="Text Box 79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8" name="Text Box 800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099" name="Text Box 801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0" name="Text Box 80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1" name="Text Box 80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2" name="Text Box 809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3" name="Text Box 81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4" name="Text Box 81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5" name="Text Box 81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6" name="Text Box 81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7" name="Text Box 818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8" name="Text Box 81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09" name="Text Box 821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0" name="Text Box 822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1" name="Text Box 824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2" name="Text Box 825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3" name="Text Box 827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4" name="Text Box 828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5" name="Text Box 830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6" name="Text Box 833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7" name="Text Box 836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8" name="Text Box 853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19" name="Text Box 854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0" name="Text Box 856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1" name="Text Box 857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2" name="Text Box 859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3" name="Text Box 860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4" name="Text Box 862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5" name="Text Box 863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6" name="Text Box 865"/>
          <p:cNvSpPr txBox="1">
            <a:spLocks noChangeArrowheads="1"/>
          </p:cNvSpPr>
          <p:nvPr/>
        </p:nvSpPr>
        <p:spPr bwMode="auto">
          <a:xfrm>
            <a:off x="8024568" y="49942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7" name="Text Box 866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8" name="Text Box 869"/>
          <p:cNvSpPr txBox="1">
            <a:spLocks noChangeArrowheads="1"/>
          </p:cNvSpPr>
          <p:nvPr/>
        </p:nvSpPr>
        <p:spPr bwMode="auto">
          <a:xfrm>
            <a:off x="8024568" y="1189037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29" name="Text Box 871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0" name="Text Box 874"/>
          <p:cNvSpPr txBox="1">
            <a:spLocks noChangeArrowheads="1"/>
          </p:cNvSpPr>
          <p:nvPr/>
        </p:nvSpPr>
        <p:spPr bwMode="auto">
          <a:xfrm>
            <a:off x="8024568" y="4429125"/>
            <a:ext cx="794544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1" name="Text Box 544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2" name="Text Box 547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3" name="Text Box 550"/>
          <p:cNvSpPr txBox="1">
            <a:spLocks noChangeArrowheads="1"/>
          </p:cNvSpPr>
          <p:nvPr/>
        </p:nvSpPr>
        <p:spPr bwMode="auto">
          <a:xfrm>
            <a:off x="8014258" y="4702180"/>
            <a:ext cx="691356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3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4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5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6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7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8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2" name="Text Box 66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3" name="Text Box 67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4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5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6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7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8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199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0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1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2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3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4" name="Text Box 75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5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6" name="Text Box 75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7" name="Text Box 76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8" name="Text Box 76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09" name="Text Box 76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0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1" name="Text Box 77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2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3" name="Text Box 77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4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5" name="Text Box 77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7" name="Text Box 77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8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19" name="Text Box 78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0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1" name="Text Box 78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2" name="Text Box 78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3" name="Text Box 79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4" name="Text Box 79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5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6" name="Text Box 79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7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8" name="Text Box 80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29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0" name="Text Box 80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1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2" name="Text Box 80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4" name="Text Box 80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5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6" name="Text Box 812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7" name="Text Box 81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8" name="Text Box 81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39" name="Text Box 83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0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1" name="Text Box 83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2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3" name="Text Box 84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4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5" name="Text Box 84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6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7" name="Text Box 84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8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49" name="Text Box 85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1" name="Text Box 853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2" name="Text Box 85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3" name="Text Box 859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4" name="Text Box 55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5" name="Text Box 55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6" name="Text Box 55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7" name="Text Box 55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8" name="Text Box 55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59" name="Text Box 56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0" name="Text Box 56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1" name="Text Box 56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2" name="Text Box 56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3" name="Text Box 56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4" name="Text Box 56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5" name="Text Box 56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6" name="Text Box 57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7" name="Text Box 57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8" name="Text Box 577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69" name="Text Box 58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0" name="Text Box 58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1" name="Text Box 58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2" name="Text Box 58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3" name="Text Box 58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4" name="Text Box 58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5" name="Text Box 58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6" name="Text Box 59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7" name="Text Box 59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8" name="Text Box 59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79" name="Text Box 595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0" name="Text Box 59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1" name="Text Box 59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2" name="Text Box 60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3" name="Text Box 604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4" name="Text Box 60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5" name="Text Box 60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6" name="Text Box 61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7" name="Text Box 61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8" name="Text Box 61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89" name="Text Box 61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0" name="Text Box 61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1" name="Text Box 61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2" name="Text Box 61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3" name="Text Box 62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4" name="Text Box 62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5" name="Text Box 62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6" name="Text Box 625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7" name="Text Box 628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8" name="Text Box 631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299" name="Text Box 648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0" name="Text Box 64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1" name="Text Box 651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2" name="Text Box 65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3" name="Text Box 654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4" name="Text Box 65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5" name="Text Box 657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6" name="Text Box 65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7" name="Text Box 66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8" name="Text Box 66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09" name="Text Box 66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0" name="Text Box 66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1" name="Text Box 666"/>
          <p:cNvSpPr txBox="1">
            <a:spLocks noChangeArrowheads="1"/>
          </p:cNvSpPr>
          <p:nvPr/>
        </p:nvSpPr>
        <p:spPr bwMode="auto">
          <a:xfrm>
            <a:off x="8014258" y="442912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2" name="Text Box 740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3" name="Text Box 74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4" name="Text Box 743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5" name="Text Box 74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6" name="Text Box 746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7" name="Text Box 74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8" name="Text Box 749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19" name="Text Box 75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0" name="Text Box 752"/>
          <p:cNvSpPr txBox="1">
            <a:spLocks noChangeArrowheads="1"/>
          </p:cNvSpPr>
          <p:nvPr/>
        </p:nvSpPr>
        <p:spPr bwMode="auto">
          <a:xfrm>
            <a:off x="8014258" y="4994280"/>
            <a:ext cx="691356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1" name="Text Box 75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2" name="Text Box 75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3" name="Text Box 76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4" name="Text Box 77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5" name="Text Box 77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6" name="Text Box 77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7" name="Text Box 78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8" name="Text Box 783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29" name="Text Box 79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0" name="Text Box 79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1" name="Text Box 80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2" name="Text Box 804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3" name="Text Box 807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4" name="Text Box 810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5" name="Text Box 836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6" name="Text Box 839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7" name="Text Box 842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8" name="Text Box 845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39" name="Text Box 848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340" name="Text Box 851"/>
          <p:cNvSpPr txBox="1">
            <a:spLocks noChangeArrowheads="1"/>
          </p:cNvSpPr>
          <p:nvPr/>
        </p:nvSpPr>
        <p:spPr bwMode="auto">
          <a:xfrm>
            <a:off x="8014258" y="11890375"/>
            <a:ext cx="691356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8467505"/>
              </p:ext>
            </p:extLst>
          </p:nvPr>
        </p:nvGraphicFramePr>
        <p:xfrm>
          <a:off x="82511" y="546882"/>
          <a:ext cx="9737528" cy="6283180"/>
        </p:xfrm>
        <a:graphic>
          <a:graphicData uri="http://schemas.openxmlformats.org/drawingml/2006/table">
            <a:tbl>
              <a:tblPr/>
              <a:tblGrid>
                <a:gridCol w="5925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65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2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395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595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721">
                  <a:extLst>
                    <a:ext uri="{9D8B030D-6E8A-4147-A177-3AD203B41FA5}">
                      <a16:colId xmlns:a16="http://schemas.microsoft.com/office/drawing/2014/main" val="3519431032"/>
                    </a:ext>
                  </a:extLst>
                </a:gridCol>
                <a:gridCol w="14382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42831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8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№ п/п</a:t>
                      </a:r>
                      <a:endParaRPr lang="ru-RU" sz="98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показателей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. изм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твержден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акт </a:t>
                      </a:r>
                      <a:endParaRPr lang="en-US" sz="98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689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8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исполнения</a:t>
                      </a:r>
                      <a:endParaRPr lang="ru-KZ" sz="980" dirty="0"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689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68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67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80" b="1" i="0" u="none" strike="noStrike" dirty="0">
                          <a:effectLst/>
                          <a:latin typeface="Times New Roman"/>
                        </a:rPr>
                        <a:t>I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Затраты на производство товаров и предоставление   услуг, все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тыс.</a:t>
                      </a:r>
                      <a:br>
                        <a:rPr lang="ru-RU" sz="980" b="1" i="0" u="none" strike="noStrike" dirty="0">
                          <a:effectLst/>
                          <a:latin typeface="Times New Roman"/>
                        </a:rPr>
                      </a:br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тенге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462 212 778</a:t>
                      </a:r>
                      <a:endParaRPr lang="x-none" sz="980" b="1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598 743 5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3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Материальные затраты, все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9 399 954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48 006 94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6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1.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66700" indent="0"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 материалы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  <a:endParaRPr lang="ru-RU" sz="980" b="0" i="0" u="none" strike="noStrike" dirty="0">
                        <a:effectLst/>
                        <a:latin typeface="Arial Cy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8 941 956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9 187 90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5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1.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66700" indent="0"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топлив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  <a:endParaRPr lang="ru-RU" sz="980" b="0" i="0" u="none" strike="noStrike" dirty="0">
                        <a:effectLst/>
                        <a:latin typeface="Arial Cy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 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788 848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7 933 66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3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1.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электроэнерги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  <a:endParaRPr lang="ru-RU" sz="980" b="0" i="0" u="none" strike="noStrike" dirty="0">
                        <a:effectLst/>
                        <a:latin typeface="Arial Cy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4 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669 150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0 885 38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Затраты на оплату труда , все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41 007 811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99 412 03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2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2.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66700" indent="0"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заработная плата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12 827 702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57 799 79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2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2.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социальный налог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2 253 527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35 016 78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5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2.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        ОСМ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 926 582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 595 45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1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Амортизация основных средств и нематериальных активов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9 485 766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5 199 89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Ремонт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346 205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 456 35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7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Прочие затраты, все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 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31 973 042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83 668 27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5.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оплата работ и услуг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97 502 711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35 690 4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5.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прочие расходы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1 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943 792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7 288 19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4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5.3</a:t>
                      </a:r>
                      <a:endParaRPr lang="en-US" sz="98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Услуги по маневровой работе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</a:t>
                      </a:r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26 539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30 689 64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80" b="1" i="0" u="none" strike="noStrike" dirty="0">
                          <a:effectLst/>
                          <a:latin typeface="Times New Roman"/>
                        </a:rPr>
                        <a:t>II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Расходы периода, все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84 708 367</a:t>
                      </a:r>
                      <a:endParaRPr lang="x-none" sz="980" b="1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55 394 79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8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Общие и административные расходы, все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1 376 722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99 097 79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9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180975" indent="85725"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заработная плата административного персонала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2 966 291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30 471 78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социальный налог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</a:t>
                      </a:r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050 141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3 448 54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6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496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ОСМ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643 236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905 24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4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налоги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 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9</a:t>
                      </a:r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90 718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2 925 44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1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прочие, все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 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6 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426 336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41 346 7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4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5.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1" u="none" strike="noStrike" dirty="0">
                          <a:effectLst/>
                          <a:latin typeface="Times New Roman"/>
                        </a:rPr>
                        <a:t>амортизация основных средств и нематериальных активов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 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355 938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 361 58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5.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1" u="none" strike="noStrike" dirty="0">
                          <a:effectLst/>
                          <a:latin typeface="Times New Roman"/>
                        </a:rPr>
                        <a:t>услуги сторонних организаций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 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43 3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 639 15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7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5.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1" u="none" strike="noStrike" dirty="0">
                          <a:effectLst/>
                          <a:latin typeface="Times New Roman"/>
                        </a:rPr>
                        <a:t>ремонт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95 814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527 77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55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5.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1" u="none" strike="noStrike" dirty="0">
                          <a:effectLst/>
                          <a:latin typeface="Times New Roman"/>
                        </a:rPr>
                        <a:t>аудиторские, консалтинговые и информационные  услуги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6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86 590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 461 41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35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5.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1" u="none" strike="noStrike" dirty="0">
                          <a:effectLst/>
                          <a:latin typeface="Times New Roman"/>
                        </a:rPr>
                        <a:t>командировочные расходы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6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70 545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888 84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5.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1" u="none" strike="noStrike" dirty="0">
                          <a:effectLst/>
                          <a:latin typeface="Times New Roman"/>
                        </a:rPr>
                        <a:t>представительские расходы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74 478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56 82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1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5.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980" b="0" i="1" u="none" strike="noStrike" dirty="0">
                          <a:effectLst/>
                          <a:latin typeface="Times New Roman"/>
                        </a:rPr>
                        <a:t>другие расходы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 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999 609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3 311 17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6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70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6.5.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        </a:t>
                      </a:r>
                      <a:r>
                        <a:rPr lang="ru-RU" sz="98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погашение основного долга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80" b="0" i="0" u="none" strike="noStrike" dirty="0">
                          <a:effectLst/>
                          <a:latin typeface="Arial Cyr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30 000 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1201849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Расходы на выплату вознаграждения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-//-</a:t>
                      </a:r>
                      <a:endParaRPr lang="ru-RU" sz="980" b="0" i="0" u="none" strike="noStrike" dirty="0">
                        <a:effectLst/>
                        <a:latin typeface="Arial Cy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33</a:t>
                      </a:r>
                      <a:r>
                        <a:rPr lang="x-none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8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331 646</a:t>
                      </a:r>
                      <a:endParaRPr lang="x-none" sz="98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56 296 99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6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80" b="1" i="0" u="none" strike="noStrike" dirty="0">
                          <a:effectLst/>
                          <a:latin typeface="Times New Roman"/>
                        </a:rPr>
                        <a:t>III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Всего затрат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46 921 145</a:t>
                      </a:r>
                      <a:endParaRPr lang="x-none" sz="980" b="1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754 138 30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3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80" b="1" i="0" u="none" strike="noStrike" dirty="0">
                          <a:effectLst/>
                          <a:latin typeface="Times New Roman"/>
                        </a:rPr>
                        <a:t>IV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Всего доходов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751 892 194</a:t>
                      </a:r>
                      <a:endParaRPr lang="x-none" sz="980" b="1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830 006 62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47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80" b="1" i="0" u="none" strike="noStrike" dirty="0">
                          <a:effectLst/>
                          <a:latin typeface="Times New Roman"/>
                        </a:rPr>
                        <a:t>V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Прибыль/убыток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8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04 971 049</a:t>
                      </a:r>
                      <a:endParaRPr lang="x-none" sz="980" b="1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75 868 32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8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  <a:tr h="1383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7</a:t>
                      </a:r>
                      <a:endParaRPr lang="en-US" sz="980" b="1" i="0" u="none" strike="noStrike" dirty="0"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Временная балансирующая плата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-//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8 845 4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8 845 4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8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4"/>
                  </a:ext>
                </a:extLst>
              </a:tr>
              <a:tr h="138385">
                <a:tc>
                  <a:txBody>
                    <a:bodyPr/>
                    <a:lstStyle/>
                    <a:p>
                      <a:pPr algn="ctr" fontAlgn="ctr"/>
                      <a:r>
                        <a:rPr lang="kk-KZ" sz="980" b="1" i="0" u="none" strike="noStrike" dirty="0">
                          <a:effectLst/>
                          <a:latin typeface="Times New Roman"/>
                        </a:rPr>
                        <a:t>8</a:t>
                      </a:r>
                      <a:endParaRPr lang="en-US" sz="980" b="1" i="0" u="none" strike="noStrike" dirty="0"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80" b="1" i="0" u="none" strike="noStrike" dirty="0">
                          <a:effectLst/>
                          <a:latin typeface="Times New Roman"/>
                        </a:rPr>
                        <a:t>Объем, грузооборот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0" i="0" u="none" strike="noStrike" dirty="0">
                          <a:effectLst/>
                          <a:latin typeface="Times New Roman"/>
                        </a:rPr>
                        <a:t>млн.т-км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00 52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09 46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80" b="1" i="0" u="none" strike="noStrike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04</a:t>
                      </a:r>
                      <a:endParaRPr lang="ru-RU" sz="98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5"/>
                  </a:ext>
                </a:extLst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591189" y="6492875"/>
            <a:ext cx="222885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1F56F-C712-4B28-9A2C-A96C353C48B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18" name="Picture 9" descr="Логотип copy">
            <a:extLst>
              <a:ext uri="{FF2B5EF4-FFF2-40B4-BE49-F238E27FC236}">
                <a16:creationId xmlns:a16="http://schemas.microsoft.com/office/drawing/2014/main" id="{71B00906-F8FD-47C7-8792-162F958AD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38" y="36823"/>
            <a:ext cx="479201" cy="496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2718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592374" y="153196"/>
            <a:ext cx="8120421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742950">
              <a:defRPr/>
            </a:pPr>
            <a:r>
              <a:rPr lang="ru-RU" sz="1600" b="1" dirty="0">
                <a:solidFill>
                  <a:srgbClr val="0070C0"/>
                </a:solidFill>
                <a:effectLst>
                  <a:outerShdw blurRad="38100" dist="38100" dir="2700000" algn="tl">
                    <a:prstClr val="white"/>
                  </a:outerShdw>
                </a:effectLst>
                <a:latin typeface="Times New Roman" pitchFamily="18" charset="0"/>
                <a:cs typeface="Times New Roman" pitchFamily="18" charset="0"/>
              </a:rPr>
              <a:t>ОТЧЕТ ОБ ИСПОЛНЕНИИ ИНВЕСТИЦИОННОЙ ПРОГРАММЫ  </a:t>
            </a:r>
          </a:p>
          <a:p>
            <a:pPr algn="ctr" defTabSz="742950">
              <a:defRPr/>
            </a:pPr>
            <a:r>
              <a:rPr lang="ru-RU" sz="1600" b="1" dirty="0">
                <a:solidFill>
                  <a:srgbClr val="0070C0"/>
                </a:solidFill>
                <a:effectLst>
                  <a:outerShdw blurRad="38100" dist="38100" dir="2700000" algn="tl">
                    <a:prstClr val="white"/>
                  </a:outerShdw>
                </a:effectLst>
                <a:latin typeface="Times New Roman" pitchFamily="18" charset="0"/>
                <a:cs typeface="Times New Roman" pitchFamily="18" charset="0"/>
              </a:rPr>
              <a:t>НА УСЛУГИ МЖС ЗА 2025 ГОД </a:t>
            </a:r>
          </a:p>
        </p:txBody>
      </p:sp>
      <p:sp>
        <p:nvSpPr>
          <p:cNvPr id="5" name="Line 809"/>
          <p:cNvSpPr>
            <a:spLocks noChangeShapeType="1"/>
          </p:cNvSpPr>
          <p:nvPr/>
        </p:nvSpPr>
        <p:spPr bwMode="auto">
          <a:xfrm flipV="1">
            <a:off x="1201537" y="812608"/>
            <a:ext cx="7398544" cy="0"/>
          </a:xfrm>
          <a:prstGeom prst="line">
            <a:avLst/>
          </a:prstGeom>
          <a:noFill/>
          <a:ln w="57150" cmpd="thinThick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defTabSz="742950">
              <a:defRPr/>
            </a:pPr>
            <a:endParaRPr lang="ru-RU" sz="1463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7547925" y="1198502"/>
            <a:ext cx="936103" cy="227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6827" tIns="38467" rIns="76827" bIns="38467" anchor="ctr">
            <a:spAutoFit/>
          </a:bodyPr>
          <a:lstStyle>
            <a:lvl1pPr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737791" eaLnBrk="1" hangingPunct="1">
              <a:defRPr/>
            </a:pPr>
            <a:r>
              <a:rPr lang="ru-RU" sz="975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ыс. тенге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6649101"/>
              </p:ext>
            </p:extLst>
          </p:nvPr>
        </p:nvGraphicFramePr>
        <p:xfrm>
          <a:off x="479658" y="1149095"/>
          <a:ext cx="8684415" cy="5343780"/>
        </p:xfrm>
        <a:graphic>
          <a:graphicData uri="http://schemas.openxmlformats.org/drawingml/2006/table">
            <a:tbl>
              <a:tblPr/>
              <a:tblGrid>
                <a:gridCol w="5599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226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06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918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789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830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2333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п/п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</a:t>
                      </a:r>
                      <a:r>
                        <a:rPr lang="ru-RU" sz="10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ек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1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ё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умм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ё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умм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68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708">
                <a:tc>
                  <a:txBody>
                    <a:bodyPr/>
                    <a:lstStyle/>
                    <a:p>
                      <a:pPr marL="92075" indent="0" algn="l" rtl="0" fontAlgn="ctr"/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0" algn="l" rtl="0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 по АО "НК "КТЖ", в т.ч.: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    265 918 5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91 861 706</a:t>
                      </a: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3719">
                <a:tc>
                  <a:txBody>
                    <a:bodyPr/>
                    <a:lstStyle/>
                    <a:p>
                      <a:pPr marL="92075" indent="0" algn="l" rtl="0" fontAlgn="ctr"/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0" algn="l" rtl="0" fontAlgn="ctr"/>
                      <a:r>
                        <a:rPr lang="ru-RU" sz="1200" b="1" i="0" u="sng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бственные средства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    228 127 58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4 070 721</a:t>
                      </a: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5042">
                <a:tc>
                  <a:txBody>
                    <a:bodyPr/>
                    <a:lstStyle/>
                    <a:p>
                      <a:pPr marL="92075" indent="0" algn="l" rtl="0" fontAlgn="ctr"/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0" algn="l" rtl="0" fontAlgn="ctr"/>
                      <a:r>
                        <a:rPr lang="ru-RU" sz="1200" b="1" i="0" u="sng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емные средства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    37 790 98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 790 98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2263">
                <a:tc>
                  <a:txBody>
                    <a:bodyPr/>
                    <a:lstStyle/>
                    <a:p>
                      <a:pPr algn="ctr" rtl="0" fontAlgn="ctr"/>
                      <a:r>
                        <a:rPr lang="kk-K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0" algn="l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РП на новых материалах подрядным способом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33 км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6 681 238</a:t>
                      </a: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33 км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105  115 922   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93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0" algn="l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мена комплекса стрелочного перевода с железобетонными брусьями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85 </a:t>
                      </a:r>
                      <a:r>
                        <a:rPr lang="ru-RU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мпл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1 820 315</a:t>
                      </a: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85 </a:t>
                      </a:r>
                      <a:r>
                        <a:rPr lang="ru-RU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мпл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1 820 315</a:t>
                      </a: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122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иобретение техники и оборудования для функционирования МЖС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1</a:t>
                      </a:r>
                      <a:r>
                        <a:rPr lang="ru-RU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ед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14 957 631 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1 ед.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 957 631 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325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роительство и капитальный ремонт ИССО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 144 321</a:t>
                      </a: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1 535 646 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96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апитальный ремонт СПС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1 ед.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 381 309</a:t>
                      </a: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1 ед.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381 309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2627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92075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роительство вторых путей на участке Достык – Мойынты (заемные)</a:t>
                      </a:r>
                    </a:p>
                    <a:p>
                      <a:pPr marL="92075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 790 985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 790 985</a:t>
                      </a: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608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троительство обводной железнодорожной линии в обход железнодорожного узла станции Алматы</a:t>
                      </a: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0 254 154</a:t>
                      </a: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7 934 055</a:t>
                      </a: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608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троительство железнодорожной линии </a:t>
                      </a:r>
                      <a:r>
                        <a:rPr lang="ru-RU" sz="12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Дарбаза</a:t>
                      </a:r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- </a:t>
                      </a:r>
                      <a:r>
                        <a:rPr lang="ru-RU" sz="12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Мактаарал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8 888 620</a:t>
                      </a: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5441" marR="5441" marT="544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8 325 843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8" name="Picture 9" descr="Логотип copy">
            <a:extLst>
              <a:ext uri="{FF2B5EF4-FFF2-40B4-BE49-F238E27FC236}">
                <a16:creationId xmlns:a16="http://schemas.microsoft.com/office/drawing/2014/main" id="{355016E9-E3A4-493B-93B9-6D5B56BC6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4073" y="153196"/>
            <a:ext cx="617491" cy="49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8515DB67-A941-4720-BF3F-8C2825ED5451}"/>
              </a:ext>
            </a:extLst>
          </p:cNvPr>
          <p:cNvSpPr txBox="1">
            <a:spLocks/>
          </p:cNvSpPr>
          <p:nvPr/>
        </p:nvSpPr>
        <p:spPr>
          <a:xfrm>
            <a:off x="7591189" y="6492875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6D1F56F-C712-4B28-9A2C-A96C353C48BC}" type="slidenum">
              <a:rPr lang="ru-RU" sz="12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9</a:t>
            </a:fld>
            <a:endParaRPr lang="ru-RU" sz="12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D11F90A7-53EE-4E70-B940-83566110ED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964" y="882493"/>
            <a:ext cx="1152127" cy="264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4556" tIns="47344" rIns="94556" bIns="47344" anchor="ctr">
            <a:spAutoFit/>
          </a:bodyPr>
          <a:lstStyle>
            <a:lvl1pPr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0805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08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тыс. тенге</a:t>
            </a:r>
          </a:p>
        </p:txBody>
      </p:sp>
    </p:spTree>
    <p:extLst>
      <p:ext uri="{BB962C8B-B14F-4D97-AF65-F5344CB8AC3E}">
        <p14:creationId xmlns:p14="http://schemas.microsoft.com/office/powerpoint/2010/main" val="1097402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JWJdYpEWe6mb2K3uXC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Воздушный поток">
    <a:dk1>
      <a:sysClr val="windowText" lastClr="000000"/>
    </a:dk1>
    <a:lt1>
      <a:sysClr val="window" lastClr="FFFFFF"/>
    </a:lt1>
    <a:dk2>
      <a:srgbClr val="212745"/>
    </a:dk2>
    <a:lt2>
      <a:srgbClr val="B4DCFA"/>
    </a:lt2>
    <a:accent1>
      <a:srgbClr val="4E67C8"/>
    </a:accent1>
    <a:accent2>
      <a:srgbClr val="5ECCF3"/>
    </a:accent2>
    <a:accent3>
      <a:srgbClr val="A7EA52"/>
    </a:accent3>
    <a:accent4>
      <a:srgbClr val="5DCEAF"/>
    </a:accent4>
    <a:accent5>
      <a:srgbClr val="FF8021"/>
    </a:accent5>
    <a:accent6>
      <a:srgbClr val="F14124"/>
    </a:accent6>
    <a:hlink>
      <a:srgbClr val="56C7AA"/>
    </a:hlink>
    <a:folHlink>
      <a:srgbClr val="59A8D1"/>
    </a:folHlink>
  </a:clrScheme>
  <a:fontScheme name="Воздушный поток">
    <a:majorFont>
      <a:latin typeface="Trebuchet MS"/>
      <a:ea typeface=""/>
      <a:cs typeface=""/>
      <a:font script="Jpan" typeface="HGｺﾞｼｯｸM"/>
      <a:font script="Hang" typeface="HY그래픽B"/>
      <a:font script="Hans" typeface="方正姚体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/>
      <a:ea typeface=""/>
      <a:cs typeface=""/>
      <a:font script="Jpan" typeface="HGｺﾞｼｯｸM"/>
      <a:font script="Hang" typeface="HY그래픽M"/>
      <a:font script="Hans" typeface="方正姚体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Воздушный поток">
    <a:fillStyleLst>
      <a:solidFill>
        <a:schemeClr val="phClr"/>
      </a:solidFill>
      <a:gradFill rotWithShape="1">
        <a:gsLst>
          <a:gs pos="28000">
            <a:schemeClr val="phClr">
              <a:tint val="18000"/>
              <a:satMod val="120000"/>
              <a:lumMod val="88000"/>
            </a:schemeClr>
          </a:gs>
          <a:gs pos="100000">
            <a:schemeClr val="phClr">
              <a:tint val="40000"/>
              <a:satMod val="100000"/>
              <a:lumMod val="78000"/>
            </a:schemeClr>
          </a:gs>
        </a:gsLst>
        <a:lin ang="5400000" scaled="0"/>
      </a:gradFill>
      <a:gradFill rotWithShape="1">
        <a:gsLst>
          <a:gs pos="0">
            <a:schemeClr val="phClr">
              <a:lumMod val="95000"/>
            </a:schemeClr>
          </a:gs>
          <a:gs pos="100000">
            <a:schemeClr val="phClr">
              <a:shade val="82000"/>
              <a:satMod val="125000"/>
              <a:lumMod val="74000"/>
            </a:schemeClr>
          </a:gs>
        </a:gsLst>
        <a:lin ang="5400000" scaled="0"/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>
            <a:shade val="75000"/>
            <a:satMod val="125000"/>
            <a:lumMod val="7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63500" dist="50800" dir="5400000" sx="98000" sy="98000" rotWithShape="0">
            <a:srgbClr val="000000">
              <a:alpha val="20000"/>
            </a:srgbClr>
          </a:outerShdw>
        </a:effectLst>
      </a:effectStyle>
      <a:effectStyle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a:effectStyle>
      <a:effectStyle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phClr">
              <a:shade val="30000"/>
              <a:satMod val="12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8000"/>
              <a:shade val="90000"/>
              <a:satMod val="160000"/>
              <a:lumMod val="100000"/>
            </a:schemeClr>
          </a:gs>
          <a:gs pos="60000">
            <a:schemeClr val="phClr">
              <a:tint val="95000"/>
              <a:shade val="100000"/>
              <a:satMod val="130000"/>
              <a:lumMod val="130000"/>
            </a:schemeClr>
          </a:gs>
          <a:gs pos="100000">
            <a:schemeClr val="phClr">
              <a:tint val="97000"/>
              <a:shade val="100000"/>
              <a:hueMod val="100000"/>
              <a:satMod val="140000"/>
              <a:lumMod val="80000"/>
            </a:schemeClr>
          </a:gs>
        </a:gsLst>
        <a:path path="circle">
          <a:fillToRect l="20000" t="10000" r="20000" b="60000"/>
        </a:path>
      </a:gradFill>
      <a:gradFill rotWithShape="1">
        <a:gsLst>
          <a:gs pos="0">
            <a:schemeClr val="phClr">
              <a:tint val="94000"/>
              <a:satMod val="160000"/>
              <a:lumMod val="160000"/>
            </a:schemeClr>
          </a:gs>
          <a:gs pos="42000">
            <a:schemeClr val="phClr">
              <a:tint val="94000"/>
              <a:shade val="94000"/>
              <a:satMod val="160000"/>
              <a:lumMod val="130000"/>
            </a:schemeClr>
          </a:gs>
          <a:gs pos="100000">
            <a:schemeClr val="phClr">
              <a:tint val="97000"/>
              <a:shade val="94000"/>
              <a:satMod val="180000"/>
              <a:lumMod val="84000"/>
            </a:schemeClr>
          </a:gs>
        </a:gsLst>
        <a:path path="circle">
          <a:fillToRect l="24000" t="44000" r="24000" b="12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
</file>

<file path=customXml/item3.xml>
</file>

<file path=customXml/itemProps1.xml><?xml version="1.0" encoding="utf-8"?>
<ds:datastoreItem xmlns:ds="http://schemas.openxmlformats.org/officeDocument/2006/customXml" ds:itemID="{7C8F6389-2A61-4EE3-B98D-3E3B49847B06}"/>
</file>

<file path=customXml/itemProps2.xml><?xml version="1.0" encoding="utf-8"?>
<ds:datastoreItem xmlns:ds="http://schemas.openxmlformats.org/officeDocument/2006/customXml" ds:itemID="{FFAC9193-5648-4AB3-A7A7-3A855C0EF1B3}"/>
</file>

<file path=customXml/itemProps3.xml><?xml version="1.0" encoding="utf-8"?>
<ds:datastoreItem xmlns:ds="http://schemas.openxmlformats.org/officeDocument/2006/customXml" ds:itemID="{8134D411-2BAC-4514-A8E3-DC1DBFF197A7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286</TotalTime>
  <Words>2693</Words>
  <Application>Microsoft Office PowerPoint</Application>
  <PresentationFormat>Лист A4 (210x297 мм)</PresentationFormat>
  <Paragraphs>619</Paragraphs>
  <Slides>23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5" baseType="lpstr">
      <vt:lpstr>Arial</vt:lpstr>
      <vt:lpstr>Arial Cyr</vt:lpstr>
      <vt:lpstr>Calibri</vt:lpstr>
      <vt:lpstr>Calibri Light</vt:lpstr>
      <vt:lpstr>Times New Roman</vt:lpstr>
      <vt:lpstr>Wingdings</vt:lpstr>
      <vt:lpstr>Тема Office</vt:lpstr>
      <vt:lpstr>3_Тема Office</vt:lpstr>
      <vt:lpstr>10_Тема Office</vt:lpstr>
      <vt:lpstr>8_Тема Office</vt:lpstr>
      <vt:lpstr>2_Тема Office</vt:lpstr>
      <vt:lpstr>Слайд think-cell</vt:lpstr>
      <vt:lpstr>АО «НК «Қазақстан темір жолы»   ИТОГИ ДЕЯТЕЛЬНОСТИ ЗА 2025 ГОД И ОСНОВНЫЕ ЗАДАЧИ НА 2026 ГОД ПО РЕГУЛИРУЕМЫМ УСЛУГАМ        г.Астана 24.04.2026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Шашкенова М.К.</dc:creator>
  <cp:lastModifiedBy>Зейне М Мырзамуратова</cp:lastModifiedBy>
  <cp:revision>1300</cp:revision>
  <cp:lastPrinted>2026-04-24T06:13:12Z</cp:lastPrinted>
  <dcterms:created xsi:type="dcterms:W3CDTF">2020-01-28T07:53:37Z</dcterms:created>
  <dcterms:modified xsi:type="dcterms:W3CDTF">2026-04-29T10:53:43Z</dcterms:modified>
</cp:coreProperties>
</file>